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7"/>
  </p:notesMasterIdLst>
  <p:sldIdLst>
    <p:sldId id="256" r:id="rId2"/>
    <p:sldId id="257" r:id="rId3"/>
    <p:sldId id="258" r:id="rId4"/>
    <p:sldId id="263" r:id="rId5"/>
    <p:sldId id="277" r:id="rId6"/>
    <p:sldId id="259" r:id="rId7"/>
    <p:sldId id="283" r:id="rId8"/>
    <p:sldId id="279" r:id="rId9"/>
    <p:sldId id="261" r:id="rId10"/>
    <p:sldId id="260" r:id="rId11"/>
    <p:sldId id="278" r:id="rId12"/>
    <p:sldId id="272" r:id="rId13"/>
    <p:sldId id="275" r:id="rId14"/>
    <p:sldId id="267" r:id="rId15"/>
    <p:sldId id="276" r:id="rId16"/>
  </p:sldIdLst>
  <p:sldSz cx="9144000" cy="5143500" type="screen16x9"/>
  <p:notesSz cx="6858000" cy="9144000"/>
  <p:defaultTextStyle>
    <a:defPPr>
      <a:defRPr lang="zh-CN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showAnimation="0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96" d="100"/>
          <a:sy n="96" d="100"/>
        </p:scale>
        <p:origin x="660" y="378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0220B4D-232D-4DFA-9374-4AD5AA2A04B0}" type="datetimeFigureOut">
              <a:rPr lang="zh-CN" altLang="en-US" smtClean="0"/>
              <a:pPr/>
              <a:t>2019/6/5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84D0546-C68B-410B-BF1C-EDDEF331EBF6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80751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zh-CN" altLang="en-US"/>
              <a:t>单击此处编辑母版副标题样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C65F9A-5A2A-4A86-9878-FD412D3A5C69}" type="datetimeFigureOut">
              <a:rPr lang="zh-CN" altLang="en-US" smtClean="0"/>
              <a:pPr/>
              <a:t>2019/6/5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FC22F-E2CC-4A26-8764-082B29A87416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158402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C65F9A-5A2A-4A86-9878-FD412D3A5C69}" type="datetimeFigureOut">
              <a:rPr lang="zh-CN" altLang="en-US" smtClean="0"/>
              <a:pPr/>
              <a:t>2019/6/5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FC22F-E2CC-4A26-8764-082B29A87416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8064553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C65F9A-5A2A-4A86-9878-FD412D3A5C69}" type="datetimeFigureOut">
              <a:rPr lang="zh-CN" altLang="en-US" smtClean="0"/>
              <a:pPr/>
              <a:t>2019/6/5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FC22F-E2CC-4A26-8764-082B29A87416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152375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C65F9A-5A2A-4A86-9878-FD412D3A5C69}" type="datetimeFigureOut">
              <a:rPr lang="zh-CN" altLang="en-US" smtClean="0"/>
              <a:pPr/>
              <a:t>2019/6/5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FC22F-E2CC-4A26-8764-082B29A87416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730005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C65F9A-5A2A-4A86-9878-FD412D3A5C69}" type="datetimeFigureOut">
              <a:rPr lang="zh-CN" altLang="en-US" smtClean="0"/>
              <a:pPr/>
              <a:t>2019/6/5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FC22F-E2CC-4A26-8764-082B29A87416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114833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C65F9A-5A2A-4A86-9878-FD412D3A5C69}" type="datetimeFigureOut">
              <a:rPr lang="zh-CN" altLang="en-US" smtClean="0"/>
              <a:pPr/>
              <a:t>2019/6/5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FC22F-E2CC-4A26-8764-082B29A87416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55279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C65F9A-5A2A-4A86-9878-FD412D3A5C69}" type="datetimeFigureOut">
              <a:rPr lang="zh-CN" altLang="en-US" smtClean="0"/>
              <a:pPr/>
              <a:t>2019/6/5</a:t>
            </a:fld>
            <a:endParaRPr lang="zh-CN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FC22F-E2CC-4A26-8764-082B29A87416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4562972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C65F9A-5A2A-4A86-9878-FD412D3A5C69}" type="datetimeFigureOut">
              <a:rPr lang="zh-CN" altLang="en-US" smtClean="0"/>
              <a:pPr/>
              <a:t>2019/6/5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FC22F-E2CC-4A26-8764-082B29A87416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5281881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C65F9A-5A2A-4A86-9878-FD412D3A5C69}" type="datetimeFigureOut">
              <a:rPr lang="zh-CN" altLang="en-US" smtClean="0"/>
              <a:pPr/>
              <a:t>2019/6/5</a:t>
            </a:fld>
            <a:endParaRPr lang="zh-CN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FC22F-E2CC-4A26-8764-082B29A87416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1207533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C65F9A-5A2A-4A86-9878-FD412D3A5C69}" type="datetimeFigureOut">
              <a:rPr lang="zh-CN" altLang="en-US" smtClean="0"/>
              <a:pPr/>
              <a:t>2019/6/5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FC22F-E2CC-4A26-8764-082B29A87416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2108772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zh-CN" altLang="en-US"/>
              <a:t>单击图标添加图片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C65F9A-5A2A-4A86-9878-FD412D3A5C69}" type="datetimeFigureOut">
              <a:rPr lang="zh-CN" altLang="en-US" smtClean="0"/>
              <a:pPr/>
              <a:t>2019/6/5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FC22F-E2CC-4A26-8764-082B29A87416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659481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1C65F9A-5A2A-4A86-9878-FD412D3A5C69}" type="datetimeFigureOut">
              <a:rPr lang="zh-CN" altLang="en-US" smtClean="0"/>
              <a:pPr/>
              <a:t>2019/6/5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5FC22F-E2CC-4A26-8764-082B29A87416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03646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microsoft.com/office/2007/relationships/hdphoto" Target="../media/hdphoto1.wdp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3" name="图片 34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37" y="1"/>
            <a:ext cx="9215178" cy="5182928"/>
          </a:xfrm>
          <a:prstGeom prst="rect">
            <a:avLst/>
          </a:prstGeom>
        </p:spPr>
      </p:pic>
      <p:pic>
        <p:nvPicPr>
          <p:cNvPr id="344" name="图片 34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6250" y="1122066"/>
            <a:ext cx="5219564" cy="2047072"/>
          </a:xfrm>
          <a:prstGeom prst="rect">
            <a:avLst/>
          </a:prstGeom>
        </p:spPr>
      </p:pic>
      <p:pic>
        <p:nvPicPr>
          <p:cNvPr id="345" name="图片 34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437263" y="3242574"/>
            <a:ext cx="5219564" cy="2047072"/>
          </a:xfrm>
          <a:prstGeom prst="rect">
            <a:avLst/>
          </a:prstGeom>
        </p:spPr>
      </p:pic>
      <p:pic>
        <p:nvPicPr>
          <p:cNvPr id="346" name="图片 34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-303900" y="-517167"/>
            <a:ext cx="5219564" cy="2047072"/>
          </a:xfrm>
          <a:prstGeom prst="rect">
            <a:avLst/>
          </a:prstGeom>
        </p:spPr>
      </p:pic>
      <p:pic>
        <p:nvPicPr>
          <p:cNvPr id="347" name="图片 34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1700000">
            <a:off x="4250710" y="3219168"/>
            <a:ext cx="5219564" cy="2047072"/>
          </a:xfrm>
          <a:prstGeom prst="rect">
            <a:avLst/>
          </a:prstGeom>
        </p:spPr>
      </p:pic>
      <p:pic>
        <p:nvPicPr>
          <p:cNvPr id="348" name="图片 34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9646" y="864211"/>
            <a:ext cx="3684377" cy="3680594"/>
          </a:xfrm>
          <a:prstGeom prst="rect">
            <a:avLst/>
          </a:prstGeom>
        </p:spPr>
      </p:pic>
      <p:sp>
        <p:nvSpPr>
          <p:cNvPr id="349" name="十六角星 348"/>
          <p:cNvSpPr/>
          <p:nvPr/>
        </p:nvSpPr>
        <p:spPr>
          <a:xfrm>
            <a:off x="1738707" y="731149"/>
            <a:ext cx="3940758" cy="3940758"/>
          </a:xfrm>
          <a:prstGeom prst="star16">
            <a:avLst>
              <a:gd name="adj" fmla="val 49459"/>
            </a:avLst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013"/>
          </a:p>
        </p:txBody>
      </p:sp>
      <p:grpSp>
        <p:nvGrpSpPr>
          <p:cNvPr id="350" name="组合 349"/>
          <p:cNvGrpSpPr/>
          <p:nvPr/>
        </p:nvGrpSpPr>
        <p:grpSpPr>
          <a:xfrm>
            <a:off x="1710487" y="698660"/>
            <a:ext cx="4000340" cy="3996585"/>
            <a:chOff x="2280648" y="931545"/>
            <a:chExt cx="5333787" cy="5328780"/>
          </a:xfrm>
        </p:grpSpPr>
        <p:sp>
          <p:nvSpPr>
            <p:cNvPr id="351" name="椭圆 350"/>
            <p:cNvSpPr/>
            <p:nvPr/>
          </p:nvSpPr>
          <p:spPr>
            <a:xfrm>
              <a:off x="3903037" y="1131665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  <p:sp>
          <p:nvSpPr>
            <p:cNvPr id="352" name="椭圆 351"/>
            <p:cNvSpPr/>
            <p:nvPr/>
          </p:nvSpPr>
          <p:spPr>
            <a:xfrm>
              <a:off x="4916848" y="931545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  <p:sp>
          <p:nvSpPr>
            <p:cNvPr id="353" name="椭圆 352"/>
            <p:cNvSpPr/>
            <p:nvPr/>
          </p:nvSpPr>
          <p:spPr>
            <a:xfrm>
              <a:off x="5937928" y="1131169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  <p:sp>
          <p:nvSpPr>
            <p:cNvPr id="354" name="椭圆 353"/>
            <p:cNvSpPr/>
            <p:nvPr/>
          </p:nvSpPr>
          <p:spPr>
            <a:xfrm>
              <a:off x="6763087" y="1701497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  <p:sp>
          <p:nvSpPr>
            <p:cNvPr id="355" name="椭圆 354"/>
            <p:cNvSpPr/>
            <p:nvPr/>
          </p:nvSpPr>
          <p:spPr>
            <a:xfrm>
              <a:off x="3057568" y="1697250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  <p:sp>
          <p:nvSpPr>
            <p:cNvPr id="356" name="椭圆 355"/>
            <p:cNvSpPr/>
            <p:nvPr/>
          </p:nvSpPr>
          <p:spPr>
            <a:xfrm>
              <a:off x="2481128" y="2556341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  <p:sp>
          <p:nvSpPr>
            <p:cNvPr id="357" name="椭圆 356"/>
            <p:cNvSpPr/>
            <p:nvPr/>
          </p:nvSpPr>
          <p:spPr>
            <a:xfrm>
              <a:off x="7344374" y="2556341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  <p:sp>
          <p:nvSpPr>
            <p:cNvPr id="358" name="椭圆 357"/>
            <p:cNvSpPr/>
            <p:nvPr/>
          </p:nvSpPr>
          <p:spPr>
            <a:xfrm>
              <a:off x="7542435" y="3548037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  <p:sp>
          <p:nvSpPr>
            <p:cNvPr id="359" name="椭圆 358"/>
            <p:cNvSpPr/>
            <p:nvPr/>
          </p:nvSpPr>
          <p:spPr>
            <a:xfrm>
              <a:off x="2280648" y="3548037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  <p:sp>
          <p:nvSpPr>
            <p:cNvPr id="360" name="椭圆 359"/>
            <p:cNvSpPr/>
            <p:nvPr/>
          </p:nvSpPr>
          <p:spPr>
            <a:xfrm>
              <a:off x="2499116" y="4616410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  <p:sp>
          <p:nvSpPr>
            <p:cNvPr id="361" name="椭圆 360"/>
            <p:cNvSpPr/>
            <p:nvPr/>
          </p:nvSpPr>
          <p:spPr>
            <a:xfrm>
              <a:off x="7321514" y="4589735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  <p:sp>
          <p:nvSpPr>
            <p:cNvPr id="362" name="椭圆 361"/>
            <p:cNvSpPr/>
            <p:nvPr/>
          </p:nvSpPr>
          <p:spPr>
            <a:xfrm>
              <a:off x="6772514" y="5426709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  <p:sp>
          <p:nvSpPr>
            <p:cNvPr id="363" name="椭圆 362"/>
            <p:cNvSpPr/>
            <p:nvPr/>
          </p:nvSpPr>
          <p:spPr>
            <a:xfrm>
              <a:off x="3057568" y="5422462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  <p:sp>
          <p:nvSpPr>
            <p:cNvPr id="364" name="椭圆 363"/>
            <p:cNvSpPr/>
            <p:nvPr/>
          </p:nvSpPr>
          <p:spPr>
            <a:xfrm>
              <a:off x="3903037" y="5981184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  <p:sp>
          <p:nvSpPr>
            <p:cNvPr id="365" name="椭圆 364"/>
            <p:cNvSpPr/>
            <p:nvPr/>
          </p:nvSpPr>
          <p:spPr>
            <a:xfrm>
              <a:off x="5937928" y="5980688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  <p:sp>
          <p:nvSpPr>
            <p:cNvPr id="366" name="椭圆 365"/>
            <p:cNvSpPr/>
            <p:nvPr/>
          </p:nvSpPr>
          <p:spPr>
            <a:xfrm>
              <a:off x="4916848" y="6188325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  <p:sp>
          <p:nvSpPr>
            <p:cNvPr id="367" name="椭圆 366"/>
            <p:cNvSpPr/>
            <p:nvPr/>
          </p:nvSpPr>
          <p:spPr>
            <a:xfrm>
              <a:off x="4488353" y="2657277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  <p:sp>
          <p:nvSpPr>
            <p:cNvPr id="368" name="椭圆 367"/>
            <p:cNvSpPr/>
            <p:nvPr/>
          </p:nvSpPr>
          <p:spPr>
            <a:xfrm>
              <a:off x="3129568" y="2357227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  <p:sp>
          <p:nvSpPr>
            <p:cNvPr id="369" name="椭圆 368"/>
            <p:cNvSpPr/>
            <p:nvPr/>
          </p:nvSpPr>
          <p:spPr>
            <a:xfrm>
              <a:off x="6107323" y="2572227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  <p:sp>
          <p:nvSpPr>
            <p:cNvPr id="370" name="椭圆 369"/>
            <p:cNvSpPr/>
            <p:nvPr/>
          </p:nvSpPr>
          <p:spPr>
            <a:xfrm>
              <a:off x="5431118" y="1544823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  <p:sp>
          <p:nvSpPr>
            <p:cNvPr id="371" name="椭圆 370"/>
            <p:cNvSpPr/>
            <p:nvPr/>
          </p:nvSpPr>
          <p:spPr>
            <a:xfrm>
              <a:off x="3338442" y="4860972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  <p:sp>
          <p:nvSpPr>
            <p:cNvPr id="372" name="椭圆 371"/>
            <p:cNvSpPr/>
            <p:nvPr/>
          </p:nvSpPr>
          <p:spPr>
            <a:xfrm>
              <a:off x="4080450" y="3493613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  <p:sp>
          <p:nvSpPr>
            <p:cNvPr id="373" name="椭圆 372"/>
            <p:cNvSpPr/>
            <p:nvPr/>
          </p:nvSpPr>
          <p:spPr>
            <a:xfrm>
              <a:off x="5359118" y="5685361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  <p:sp>
          <p:nvSpPr>
            <p:cNvPr id="374" name="椭圆 373"/>
            <p:cNvSpPr/>
            <p:nvPr/>
          </p:nvSpPr>
          <p:spPr>
            <a:xfrm>
              <a:off x="6857155" y="3464768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</p:grpSp>
      <p:cxnSp>
        <p:nvCxnSpPr>
          <p:cNvPr id="375" name="直接连接符 374"/>
          <p:cNvCxnSpPr>
            <a:stCxn id="352" idx="4"/>
            <a:endCxn id="370" idx="0"/>
          </p:cNvCxnSpPr>
          <p:nvPr/>
        </p:nvCxnSpPr>
        <p:spPr>
          <a:xfrm>
            <a:off x="3714637" y="752660"/>
            <a:ext cx="385703" cy="405959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6" name="直接连接符 375"/>
          <p:cNvCxnSpPr>
            <a:stCxn id="351" idx="5"/>
            <a:endCxn id="370" idx="2"/>
          </p:cNvCxnSpPr>
          <p:nvPr/>
        </p:nvCxnSpPr>
        <p:spPr>
          <a:xfrm>
            <a:off x="2973371" y="894842"/>
            <a:ext cx="1099969" cy="290777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7" name="直接连接符 376"/>
          <p:cNvCxnSpPr>
            <a:stCxn id="368" idx="0"/>
            <a:endCxn id="351" idx="4"/>
          </p:cNvCxnSpPr>
          <p:nvPr/>
        </p:nvCxnSpPr>
        <p:spPr>
          <a:xfrm flipV="1">
            <a:off x="2374176" y="902749"/>
            <a:ext cx="580102" cy="865172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8" name="直接连接符 377"/>
          <p:cNvCxnSpPr>
            <a:stCxn id="373" idx="3"/>
            <a:endCxn id="366" idx="0"/>
          </p:cNvCxnSpPr>
          <p:nvPr/>
        </p:nvCxnSpPr>
        <p:spPr>
          <a:xfrm flipH="1">
            <a:off x="3714637" y="4310114"/>
            <a:ext cx="312611" cy="331131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9" name="直接连接符 378"/>
          <p:cNvCxnSpPr>
            <a:stCxn id="356" idx="6"/>
          </p:cNvCxnSpPr>
          <p:nvPr/>
        </p:nvCxnSpPr>
        <p:spPr>
          <a:xfrm flipV="1">
            <a:off x="1914846" y="1794921"/>
            <a:ext cx="432330" cy="149336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0" name="直接连接符 379"/>
          <p:cNvCxnSpPr>
            <a:stCxn id="368" idx="6"/>
            <a:endCxn id="367" idx="2"/>
          </p:cNvCxnSpPr>
          <p:nvPr/>
        </p:nvCxnSpPr>
        <p:spPr>
          <a:xfrm>
            <a:off x="2401177" y="1794921"/>
            <a:ext cx="965089" cy="225038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1" name="直接连接符 380"/>
          <p:cNvCxnSpPr>
            <a:stCxn id="367" idx="0"/>
            <a:endCxn id="370" idx="4"/>
          </p:cNvCxnSpPr>
          <p:nvPr/>
        </p:nvCxnSpPr>
        <p:spPr>
          <a:xfrm flipV="1">
            <a:off x="3393266" y="1212618"/>
            <a:ext cx="707074" cy="780341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2" name="直接连接符 381"/>
          <p:cNvCxnSpPr>
            <a:stCxn id="359" idx="7"/>
            <a:endCxn id="368" idx="3"/>
          </p:cNvCxnSpPr>
          <p:nvPr/>
        </p:nvCxnSpPr>
        <p:spPr>
          <a:xfrm flipV="1">
            <a:off x="1756578" y="1814013"/>
            <a:ext cx="598506" cy="854924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3" name="直接连接符 382"/>
          <p:cNvCxnSpPr>
            <a:stCxn id="368" idx="5"/>
            <a:endCxn id="372" idx="1"/>
          </p:cNvCxnSpPr>
          <p:nvPr/>
        </p:nvCxnSpPr>
        <p:spPr>
          <a:xfrm>
            <a:off x="2393269" y="1814013"/>
            <a:ext cx="674978" cy="814106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4" name="直接连接符 383"/>
          <p:cNvCxnSpPr>
            <a:stCxn id="370" idx="7"/>
            <a:endCxn id="353" idx="3"/>
          </p:cNvCxnSpPr>
          <p:nvPr/>
        </p:nvCxnSpPr>
        <p:spPr>
          <a:xfrm flipV="1">
            <a:off x="4119430" y="894470"/>
            <a:ext cx="341924" cy="272057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5" name="直接连接符 384"/>
          <p:cNvCxnSpPr>
            <a:stCxn id="370" idx="6"/>
            <a:endCxn id="354" idx="2"/>
          </p:cNvCxnSpPr>
          <p:nvPr/>
        </p:nvCxnSpPr>
        <p:spPr>
          <a:xfrm>
            <a:off x="4127340" y="1185618"/>
            <a:ext cx="944977" cy="117506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6" name="直接连接符 385"/>
          <p:cNvCxnSpPr>
            <a:stCxn id="368" idx="7"/>
            <a:endCxn id="370" idx="3"/>
          </p:cNvCxnSpPr>
          <p:nvPr/>
        </p:nvCxnSpPr>
        <p:spPr>
          <a:xfrm flipV="1">
            <a:off x="2393269" y="1204709"/>
            <a:ext cx="1687979" cy="571119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7" name="直接连接符 386"/>
          <p:cNvCxnSpPr>
            <a:stCxn id="370" idx="5"/>
            <a:endCxn id="369" idx="1"/>
          </p:cNvCxnSpPr>
          <p:nvPr/>
        </p:nvCxnSpPr>
        <p:spPr>
          <a:xfrm>
            <a:off x="4119432" y="1204709"/>
            <a:ext cx="468970" cy="732369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8" name="直接连接符 387"/>
          <p:cNvCxnSpPr>
            <a:stCxn id="367" idx="6"/>
            <a:endCxn id="369" idx="2"/>
          </p:cNvCxnSpPr>
          <p:nvPr/>
        </p:nvCxnSpPr>
        <p:spPr>
          <a:xfrm flipV="1">
            <a:off x="3420265" y="1956171"/>
            <a:ext cx="1160228" cy="63788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9" name="直接连接符 388"/>
          <p:cNvCxnSpPr>
            <a:stCxn id="369" idx="3"/>
            <a:endCxn id="373" idx="0"/>
          </p:cNvCxnSpPr>
          <p:nvPr/>
        </p:nvCxnSpPr>
        <p:spPr>
          <a:xfrm flipH="1">
            <a:off x="4046340" y="1975263"/>
            <a:ext cx="542062" cy="2288759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0" name="直接连接符 389"/>
          <p:cNvCxnSpPr>
            <a:stCxn id="369" idx="0"/>
            <a:endCxn id="354" idx="3"/>
          </p:cNvCxnSpPr>
          <p:nvPr/>
        </p:nvCxnSpPr>
        <p:spPr>
          <a:xfrm flipV="1">
            <a:off x="4607492" y="1322215"/>
            <a:ext cx="472731" cy="606956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1" name="直接连接符 390"/>
          <p:cNvCxnSpPr>
            <a:stCxn id="369" idx="5"/>
            <a:endCxn id="374" idx="1"/>
          </p:cNvCxnSpPr>
          <p:nvPr/>
        </p:nvCxnSpPr>
        <p:spPr>
          <a:xfrm>
            <a:off x="4626584" y="1975263"/>
            <a:ext cx="524190" cy="631222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2" name="直接连接符 391"/>
          <p:cNvCxnSpPr>
            <a:stCxn id="374" idx="0"/>
            <a:endCxn id="354" idx="4"/>
          </p:cNvCxnSpPr>
          <p:nvPr/>
        </p:nvCxnSpPr>
        <p:spPr>
          <a:xfrm flipH="1" flipV="1">
            <a:off x="5099315" y="1330124"/>
            <a:ext cx="70551" cy="1268453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3" name="直接连接符 392"/>
          <p:cNvCxnSpPr>
            <a:stCxn id="374" idx="7"/>
            <a:endCxn id="357" idx="3"/>
          </p:cNvCxnSpPr>
          <p:nvPr/>
        </p:nvCxnSpPr>
        <p:spPr>
          <a:xfrm flipV="1">
            <a:off x="5188960" y="1963348"/>
            <a:ext cx="327230" cy="643136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4" name="直接连接符 393"/>
          <p:cNvCxnSpPr>
            <a:stCxn id="361" idx="1"/>
            <a:endCxn id="374" idx="5"/>
          </p:cNvCxnSpPr>
          <p:nvPr/>
        </p:nvCxnSpPr>
        <p:spPr>
          <a:xfrm flipH="1" flipV="1">
            <a:off x="5188960" y="2644670"/>
            <a:ext cx="310085" cy="805541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5" name="直接连接符 394"/>
          <p:cNvCxnSpPr>
            <a:stCxn id="367" idx="4"/>
            <a:endCxn id="373" idx="1"/>
          </p:cNvCxnSpPr>
          <p:nvPr/>
        </p:nvCxnSpPr>
        <p:spPr>
          <a:xfrm>
            <a:off x="3393266" y="2046959"/>
            <a:ext cx="633982" cy="2224971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6" name="直接连接符 395"/>
          <p:cNvCxnSpPr>
            <a:stCxn id="372" idx="5"/>
            <a:endCxn id="373" idx="1"/>
          </p:cNvCxnSpPr>
          <p:nvPr/>
        </p:nvCxnSpPr>
        <p:spPr>
          <a:xfrm>
            <a:off x="3106430" y="2666303"/>
            <a:ext cx="920817" cy="1605627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7" name="直接连接符 396"/>
          <p:cNvCxnSpPr>
            <a:stCxn id="359" idx="5"/>
            <a:endCxn id="371" idx="1"/>
          </p:cNvCxnSpPr>
          <p:nvPr/>
        </p:nvCxnSpPr>
        <p:spPr>
          <a:xfrm>
            <a:off x="1756579" y="2707121"/>
            <a:ext cx="755162" cy="946517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8" name="直接连接符 397"/>
          <p:cNvCxnSpPr>
            <a:stCxn id="371" idx="7"/>
            <a:endCxn id="372" idx="2"/>
          </p:cNvCxnSpPr>
          <p:nvPr/>
        </p:nvCxnSpPr>
        <p:spPr>
          <a:xfrm flipV="1">
            <a:off x="2549924" y="2647211"/>
            <a:ext cx="510414" cy="1006427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9" name="直接连接符 398"/>
          <p:cNvCxnSpPr>
            <a:stCxn id="371" idx="0"/>
            <a:endCxn id="368" idx="4"/>
          </p:cNvCxnSpPr>
          <p:nvPr/>
        </p:nvCxnSpPr>
        <p:spPr>
          <a:xfrm flipH="1" flipV="1">
            <a:off x="2374177" y="1821922"/>
            <a:ext cx="156656" cy="1823809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0" name="直接连接符 399"/>
          <p:cNvCxnSpPr>
            <a:stCxn id="368" idx="1"/>
            <a:endCxn id="355" idx="4"/>
          </p:cNvCxnSpPr>
          <p:nvPr/>
        </p:nvCxnSpPr>
        <p:spPr>
          <a:xfrm flipH="1" flipV="1">
            <a:off x="2320176" y="1326939"/>
            <a:ext cx="34908" cy="448891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1" name="直接连接符 400"/>
          <p:cNvCxnSpPr>
            <a:stCxn id="362" idx="0"/>
            <a:endCxn id="374" idx="4"/>
          </p:cNvCxnSpPr>
          <p:nvPr/>
        </p:nvCxnSpPr>
        <p:spPr>
          <a:xfrm flipV="1">
            <a:off x="5106387" y="2652576"/>
            <a:ext cx="63481" cy="1417456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2" name="直接连接符 401"/>
          <p:cNvCxnSpPr>
            <a:stCxn id="374" idx="3"/>
            <a:endCxn id="373" idx="7"/>
          </p:cNvCxnSpPr>
          <p:nvPr/>
        </p:nvCxnSpPr>
        <p:spPr>
          <a:xfrm flipH="1">
            <a:off x="4065432" y="2644669"/>
            <a:ext cx="1085344" cy="1627261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3" name="直接连接符 402"/>
          <p:cNvCxnSpPr>
            <a:stCxn id="373" idx="6"/>
            <a:endCxn id="362" idx="2"/>
          </p:cNvCxnSpPr>
          <p:nvPr/>
        </p:nvCxnSpPr>
        <p:spPr>
          <a:xfrm flipV="1">
            <a:off x="4073339" y="4097033"/>
            <a:ext cx="1006047" cy="193989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4" name="直接连接符 403"/>
          <p:cNvCxnSpPr>
            <a:stCxn id="373" idx="5"/>
            <a:endCxn id="365" idx="1"/>
          </p:cNvCxnSpPr>
          <p:nvPr/>
        </p:nvCxnSpPr>
        <p:spPr>
          <a:xfrm>
            <a:off x="4065430" y="4310114"/>
            <a:ext cx="395924" cy="183311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5" name="直接连接符 404"/>
          <p:cNvCxnSpPr>
            <a:stCxn id="372" idx="0"/>
            <a:endCxn id="367" idx="3"/>
          </p:cNvCxnSpPr>
          <p:nvPr/>
        </p:nvCxnSpPr>
        <p:spPr>
          <a:xfrm flipV="1">
            <a:off x="3087339" y="2039050"/>
            <a:ext cx="286835" cy="58116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6" name="直接连接符 405"/>
          <p:cNvCxnSpPr>
            <a:stCxn id="371" idx="6"/>
            <a:endCxn id="373" idx="2"/>
          </p:cNvCxnSpPr>
          <p:nvPr/>
        </p:nvCxnSpPr>
        <p:spPr>
          <a:xfrm>
            <a:off x="2557832" y="3672729"/>
            <a:ext cx="1461507" cy="618292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7" name="直接连接符 406"/>
          <p:cNvCxnSpPr>
            <a:stCxn id="360" idx="6"/>
            <a:endCxn id="371" idx="2"/>
          </p:cNvCxnSpPr>
          <p:nvPr/>
        </p:nvCxnSpPr>
        <p:spPr>
          <a:xfrm>
            <a:off x="1928338" y="3489307"/>
            <a:ext cx="575495" cy="183422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8" name="直接连接符 407"/>
          <p:cNvCxnSpPr>
            <a:stCxn id="363" idx="7"/>
            <a:endCxn id="371" idx="3"/>
          </p:cNvCxnSpPr>
          <p:nvPr/>
        </p:nvCxnSpPr>
        <p:spPr>
          <a:xfrm flipV="1">
            <a:off x="2339269" y="3691822"/>
            <a:ext cx="172472" cy="382934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9" name="直接连接符 408"/>
          <p:cNvCxnSpPr>
            <a:stCxn id="364" idx="0"/>
            <a:endCxn id="371" idx="5"/>
          </p:cNvCxnSpPr>
          <p:nvPr/>
        </p:nvCxnSpPr>
        <p:spPr>
          <a:xfrm flipH="1" flipV="1">
            <a:off x="2549925" y="3691822"/>
            <a:ext cx="404354" cy="794067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0" name="直接连接符 409"/>
          <p:cNvCxnSpPr>
            <a:stCxn id="364" idx="7"/>
            <a:endCxn id="373" idx="2"/>
          </p:cNvCxnSpPr>
          <p:nvPr/>
        </p:nvCxnSpPr>
        <p:spPr>
          <a:xfrm flipV="1">
            <a:off x="2973371" y="4291022"/>
            <a:ext cx="1045969" cy="202775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11" name="组合 410"/>
          <p:cNvGrpSpPr/>
          <p:nvPr/>
        </p:nvGrpSpPr>
        <p:grpSpPr>
          <a:xfrm>
            <a:off x="1712476" y="697607"/>
            <a:ext cx="4000340" cy="3996585"/>
            <a:chOff x="2433048" y="1083945"/>
            <a:chExt cx="5333787" cy="5328780"/>
          </a:xfrm>
        </p:grpSpPr>
        <p:sp>
          <p:nvSpPr>
            <p:cNvPr id="412" name="十六角星 411"/>
            <p:cNvSpPr/>
            <p:nvPr/>
          </p:nvSpPr>
          <p:spPr>
            <a:xfrm>
              <a:off x="2470676" y="1127265"/>
              <a:ext cx="5254344" cy="5254344"/>
            </a:xfrm>
            <a:prstGeom prst="star16">
              <a:avLst>
                <a:gd name="adj" fmla="val 49459"/>
              </a:avLst>
            </a:prstGeom>
            <a:noFill/>
            <a:ln w="317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  <p:grpSp>
          <p:nvGrpSpPr>
            <p:cNvPr id="413" name="组合 412"/>
            <p:cNvGrpSpPr/>
            <p:nvPr/>
          </p:nvGrpSpPr>
          <p:grpSpPr>
            <a:xfrm>
              <a:off x="2433048" y="1083945"/>
              <a:ext cx="5333787" cy="5328780"/>
              <a:chOff x="2280648" y="931545"/>
              <a:chExt cx="5333787" cy="5328780"/>
            </a:xfrm>
          </p:grpSpPr>
          <p:sp>
            <p:nvSpPr>
              <p:cNvPr id="450" name="椭圆 449"/>
              <p:cNvSpPr/>
              <p:nvPr/>
            </p:nvSpPr>
            <p:spPr>
              <a:xfrm>
                <a:off x="3903037" y="1131665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sp>
            <p:nvSpPr>
              <p:cNvPr id="451" name="椭圆 450"/>
              <p:cNvSpPr/>
              <p:nvPr/>
            </p:nvSpPr>
            <p:spPr>
              <a:xfrm>
                <a:off x="4916848" y="931545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sp>
            <p:nvSpPr>
              <p:cNvPr id="452" name="椭圆 451"/>
              <p:cNvSpPr/>
              <p:nvPr/>
            </p:nvSpPr>
            <p:spPr>
              <a:xfrm>
                <a:off x="5937928" y="1131169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sp>
            <p:nvSpPr>
              <p:cNvPr id="453" name="椭圆 452"/>
              <p:cNvSpPr/>
              <p:nvPr/>
            </p:nvSpPr>
            <p:spPr>
              <a:xfrm>
                <a:off x="6763087" y="1701497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sp>
            <p:nvSpPr>
              <p:cNvPr id="454" name="椭圆 453"/>
              <p:cNvSpPr/>
              <p:nvPr/>
            </p:nvSpPr>
            <p:spPr>
              <a:xfrm>
                <a:off x="3057568" y="1697250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sp>
            <p:nvSpPr>
              <p:cNvPr id="455" name="椭圆 454"/>
              <p:cNvSpPr/>
              <p:nvPr/>
            </p:nvSpPr>
            <p:spPr>
              <a:xfrm>
                <a:off x="2481128" y="2556341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sp>
            <p:nvSpPr>
              <p:cNvPr id="456" name="椭圆 455"/>
              <p:cNvSpPr/>
              <p:nvPr/>
            </p:nvSpPr>
            <p:spPr>
              <a:xfrm>
                <a:off x="7344374" y="2556341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sp>
            <p:nvSpPr>
              <p:cNvPr id="457" name="椭圆 456"/>
              <p:cNvSpPr/>
              <p:nvPr/>
            </p:nvSpPr>
            <p:spPr>
              <a:xfrm>
                <a:off x="7542435" y="3548037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sp>
            <p:nvSpPr>
              <p:cNvPr id="458" name="椭圆 457"/>
              <p:cNvSpPr/>
              <p:nvPr/>
            </p:nvSpPr>
            <p:spPr>
              <a:xfrm>
                <a:off x="2280648" y="3548037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sp>
            <p:nvSpPr>
              <p:cNvPr id="459" name="椭圆 458"/>
              <p:cNvSpPr/>
              <p:nvPr/>
            </p:nvSpPr>
            <p:spPr>
              <a:xfrm>
                <a:off x="2499116" y="4616410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sp>
            <p:nvSpPr>
              <p:cNvPr id="460" name="椭圆 459"/>
              <p:cNvSpPr/>
              <p:nvPr/>
            </p:nvSpPr>
            <p:spPr>
              <a:xfrm>
                <a:off x="7321514" y="4589735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sp>
            <p:nvSpPr>
              <p:cNvPr id="461" name="椭圆 460"/>
              <p:cNvSpPr/>
              <p:nvPr/>
            </p:nvSpPr>
            <p:spPr>
              <a:xfrm>
                <a:off x="6772514" y="5426709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sp>
            <p:nvSpPr>
              <p:cNvPr id="462" name="椭圆 461"/>
              <p:cNvSpPr/>
              <p:nvPr/>
            </p:nvSpPr>
            <p:spPr>
              <a:xfrm>
                <a:off x="3057568" y="5422462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sp>
            <p:nvSpPr>
              <p:cNvPr id="463" name="椭圆 462"/>
              <p:cNvSpPr/>
              <p:nvPr/>
            </p:nvSpPr>
            <p:spPr>
              <a:xfrm>
                <a:off x="3903037" y="5981184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sp>
            <p:nvSpPr>
              <p:cNvPr id="464" name="椭圆 463"/>
              <p:cNvSpPr/>
              <p:nvPr/>
            </p:nvSpPr>
            <p:spPr>
              <a:xfrm>
                <a:off x="5937928" y="5980688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sp>
            <p:nvSpPr>
              <p:cNvPr id="465" name="椭圆 464"/>
              <p:cNvSpPr/>
              <p:nvPr/>
            </p:nvSpPr>
            <p:spPr>
              <a:xfrm>
                <a:off x="4916848" y="6188325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sp>
            <p:nvSpPr>
              <p:cNvPr id="466" name="椭圆 465"/>
              <p:cNvSpPr/>
              <p:nvPr/>
            </p:nvSpPr>
            <p:spPr>
              <a:xfrm>
                <a:off x="4488353" y="2657277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sp>
            <p:nvSpPr>
              <p:cNvPr id="467" name="椭圆 466"/>
              <p:cNvSpPr/>
              <p:nvPr/>
            </p:nvSpPr>
            <p:spPr>
              <a:xfrm>
                <a:off x="3129568" y="2357227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sp>
            <p:nvSpPr>
              <p:cNvPr id="468" name="椭圆 467"/>
              <p:cNvSpPr/>
              <p:nvPr/>
            </p:nvSpPr>
            <p:spPr>
              <a:xfrm>
                <a:off x="6107323" y="2572227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sp>
            <p:nvSpPr>
              <p:cNvPr id="469" name="椭圆 468"/>
              <p:cNvSpPr/>
              <p:nvPr/>
            </p:nvSpPr>
            <p:spPr>
              <a:xfrm>
                <a:off x="5431118" y="1544823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sp>
            <p:nvSpPr>
              <p:cNvPr id="470" name="椭圆 469"/>
              <p:cNvSpPr/>
              <p:nvPr/>
            </p:nvSpPr>
            <p:spPr>
              <a:xfrm>
                <a:off x="3338442" y="4860972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sp>
            <p:nvSpPr>
              <p:cNvPr id="471" name="椭圆 470"/>
              <p:cNvSpPr/>
              <p:nvPr/>
            </p:nvSpPr>
            <p:spPr>
              <a:xfrm>
                <a:off x="4080450" y="3493613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sp>
            <p:nvSpPr>
              <p:cNvPr id="472" name="椭圆 471"/>
              <p:cNvSpPr/>
              <p:nvPr/>
            </p:nvSpPr>
            <p:spPr>
              <a:xfrm>
                <a:off x="5359118" y="5685361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sp>
            <p:nvSpPr>
              <p:cNvPr id="473" name="椭圆 472"/>
              <p:cNvSpPr/>
              <p:nvPr/>
            </p:nvSpPr>
            <p:spPr>
              <a:xfrm>
                <a:off x="6857155" y="3464768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</p:grpSp>
        <p:cxnSp>
          <p:nvCxnSpPr>
            <p:cNvPr id="414" name="直接连接符 413"/>
            <p:cNvCxnSpPr>
              <a:stCxn id="451" idx="4"/>
              <a:endCxn id="469" idx="0"/>
            </p:cNvCxnSpPr>
            <p:nvPr/>
          </p:nvCxnSpPr>
          <p:spPr>
            <a:xfrm>
              <a:off x="5105248" y="1155945"/>
              <a:ext cx="514270" cy="541278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5" name="直接连接符 414"/>
            <p:cNvCxnSpPr>
              <a:stCxn id="450" idx="5"/>
              <a:endCxn id="469" idx="2"/>
            </p:cNvCxnSpPr>
            <p:nvPr/>
          </p:nvCxnSpPr>
          <p:spPr>
            <a:xfrm>
              <a:off x="4116893" y="1345521"/>
              <a:ext cx="1466625" cy="387702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6" name="直接连接符 415"/>
            <p:cNvCxnSpPr>
              <a:stCxn id="467" idx="0"/>
              <a:endCxn id="450" idx="4"/>
            </p:cNvCxnSpPr>
            <p:nvPr/>
          </p:nvCxnSpPr>
          <p:spPr>
            <a:xfrm flipV="1">
              <a:off x="3317968" y="1356065"/>
              <a:ext cx="773469" cy="1153562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7" name="直接连接符 416"/>
            <p:cNvCxnSpPr>
              <a:stCxn id="472" idx="3"/>
              <a:endCxn id="465" idx="0"/>
            </p:cNvCxnSpPr>
            <p:nvPr/>
          </p:nvCxnSpPr>
          <p:spPr>
            <a:xfrm flipH="1">
              <a:off x="5105248" y="5899217"/>
              <a:ext cx="416814" cy="441508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8" name="直接连接符 417"/>
            <p:cNvCxnSpPr>
              <a:stCxn id="455" idx="6"/>
            </p:cNvCxnSpPr>
            <p:nvPr/>
          </p:nvCxnSpPr>
          <p:spPr>
            <a:xfrm flipV="1">
              <a:off x="2705528" y="2545627"/>
              <a:ext cx="576440" cy="199114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9" name="直接连接符 418"/>
            <p:cNvCxnSpPr>
              <a:stCxn id="467" idx="6"/>
              <a:endCxn id="466" idx="2"/>
            </p:cNvCxnSpPr>
            <p:nvPr/>
          </p:nvCxnSpPr>
          <p:spPr>
            <a:xfrm>
              <a:off x="3353968" y="2545627"/>
              <a:ext cx="1286785" cy="30005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0" name="直接连接符 419"/>
            <p:cNvCxnSpPr>
              <a:stCxn id="466" idx="0"/>
              <a:endCxn id="469" idx="4"/>
            </p:cNvCxnSpPr>
            <p:nvPr/>
          </p:nvCxnSpPr>
          <p:spPr>
            <a:xfrm flipV="1">
              <a:off x="4676753" y="1769223"/>
              <a:ext cx="942765" cy="1040454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1" name="直接连接符 420"/>
            <p:cNvCxnSpPr>
              <a:stCxn id="458" idx="7"/>
              <a:endCxn id="467" idx="3"/>
            </p:cNvCxnSpPr>
            <p:nvPr/>
          </p:nvCxnSpPr>
          <p:spPr>
            <a:xfrm flipV="1">
              <a:off x="2494504" y="2571083"/>
              <a:ext cx="798008" cy="1139898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2" name="直接连接符 421"/>
            <p:cNvCxnSpPr>
              <a:stCxn id="467" idx="5"/>
              <a:endCxn id="471" idx="1"/>
            </p:cNvCxnSpPr>
            <p:nvPr/>
          </p:nvCxnSpPr>
          <p:spPr>
            <a:xfrm>
              <a:off x="3343424" y="2571083"/>
              <a:ext cx="899970" cy="1085474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3" name="直接连接符 422"/>
            <p:cNvCxnSpPr>
              <a:stCxn id="469" idx="7"/>
              <a:endCxn id="452" idx="3"/>
            </p:cNvCxnSpPr>
            <p:nvPr/>
          </p:nvCxnSpPr>
          <p:spPr>
            <a:xfrm flipV="1">
              <a:off x="5644974" y="1345025"/>
              <a:ext cx="455898" cy="362742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4" name="直接连接符 423"/>
            <p:cNvCxnSpPr>
              <a:stCxn id="469" idx="6"/>
              <a:endCxn id="453" idx="2"/>
            </p:cNvCxnSpPr>
            <p:nvPr/>
          </p:nvCxnSpPr>
          <p:spPr>
            <a:xfrm>
              <a:off x="5655518" y="1733223"/>
              <a:ext cx="1259969" cy="156674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5" name="直接连接符 424"/>
            <p:cNvCxnSpPr>
              <a:stCxn id="467" idx="7"/>
              <a:endCxn id="469" idx="3"/>
            </p:cNvCxnSpPr>
            <p:nvPr/>
          </p:nvCxnSpPr>
          <p:spPr>
            <a:xfrm flipV="1">
              <a:off x="3343424" y="1758679"/>
              <a:ext cx="2250638" cy="761492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6" name="直接连接符 425"/>
            <p:cNvCxnSpPr>
              <a:stCxn id="469" idx="5"/>
              <a:endCxn id="468" idx="1"/>
            </p:cNvCxnSpPr>
            <p:nvPr/>
          </p:nvCxnSpPr>
          <p:spPr>
            <a:xfrm>
              <a:off x="5644974" y="1758679"/>
              <a:ext cx="625293" cy="976492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7" name="直接连接符 426"/>
            <p:cNvCxnSpPr>
              <a:stCxn id="466" idx="6"/>
              <a:endCxn id="468" idx="2"/>
            </p:cNvCxnSpPr>
            <p:nvPr/>
          </p:nvCxnSpPr>
          <p:spPr>
            <a:xfrm flipV="1">
              <a:off x="4712753" y="2760627"/>
              <a:ext cx="1546970" cy="8505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8" name="直接连接符 427"/>
            <p:cNvCxnSpPr>
              <a:stCxn id="468" idx="3"/>
              <a:endCxn id="472" idx="0"/>
            </p:cNvCxnSpPr>
            <p:nvPr/>
          </p:nvCxnSpPr>
          <p:spPr>
            <a:xfrm flipH="1">
              <a:off x="5547518" y="2786083"/>
              <a:ext cx="722749" cy="3051678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9" name="直接连接符 428"/>
            <p:cNvCxnSpPr>
              <a:stCxn id="468" idx="0"/>
              <a:endCxn id="453" idx="3"/>
            </p:cNvCxnSpPr>
            <p:nvPr/>
          </p:nvCxnSpPr>
          <p:spPr>
            <a:xfrm flipV="1">
              <a:off x="6295723" y="1915353"/>
              <a:ext cx="630308" cy="809274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0" name="直接连接符 429"/>
            <p:cNvCxnSpPr>
              <a:stCxn id="468" idx="5"/>
              <a:endCxn id="473" idx="1"/>
            </p:cNvCxnSpPr>
            <p:nvPr/>
          </p:nvCxnSpPr>
          <p:spPr>
            <a:xfrm>
              <a:off x="6321179" y="2786083"/>
              <a:ext cx="698920" cy="841629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1" name="直接连接符 430"/>
            <p:cNvCxnSpPr>
              <a:stCxn id="473" idx="0"/>
              <a:endCxn id="453" idx="4"/>
            </p:cNvCxnSpPr>
            <p:nvPr/>
          </p:nvCxnSpPr>
          <p:spPr>
            <a:xfrm flipH="1" flipV="1">
              <a:off x="6951487" y="1925897"/>
              <a:ext cx="94068" cy="1691271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2" name="直接连接符 431"/>
            <p:cNvCxnSpPr>
              <a:stCxn id="473" idx="7"/>
              <a:endCxn id="456" idx="3"/>
            </p:cNvCxnSpPr>
            <p:nvPr/>
          </p:nvCxnSpPr>
          <p:spPr>
            <a:xfrm flipV="1">
              <a:off x="7071011" y="2770197"/>
              <a:ext cx="436307" cy="857515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3" name="直接连接符 432"/>
            <p:cNvCxnSpPr>
              <a:stCxn id="460" idx="1"/>
              <a:endCxn id="473" idx="5"/>
            </p:cNvCxnSpPr>
            <p:nvPr/>
          </p:nvCxnSpPr>
          <p:spPr>
            <a:xfrm flipH="1" flipV="1">
              <a:off x="7071011" y="3678624"/>
              <a:ext cx="413447" cy="1074055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4" name="直接连接符 433"/>
            <p:cNvCxnSpPr>
              <a:stCxn id="466" idx="4"/>
              <a:endCxn id="472" idx="1"/>
            </p:cNvCxnSpPr>
            <p:nvPr/>
          </p:nvCxnSpPr>
          <p:spPr>
            <a:xfrm>
              <a:off x="4676753" y="2881677"/>
              <a:ext cx="845309" cy="2966628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5" name="直接连接符 434"/>
            <p:cNvCxnSpPr>
              <a:stCxn id="471" idx="5"/>
              <a:endCxn id="472" idx="1"/>
            </p:cNvCxnSpPr>
            <p:nvPr/>
          </p:nvCxnSpPr>
          <p:spPr>
            <a:xfrm>
              <a:off x="4294306" y="3707469"/>
              <a:ext cx="1227756" cy="2140836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6" name="直接连接符 435"/>
            <p:cNvCxnSpPr>
              <a:stCxn id="458" idx="5"/>
              <a:endCxn id="470" idx="1"/>
            </p:cNvCxnSpPr>
            <p:nvPr/>
          </p:nvCxnSpPr>
          <p:spPr>
            <a:xfrm>
              <a:off x="2494504" y="3761893"/>
              <a:ext cx="1006882" cy="1262023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7" name="直接连接符 436"/>
            <p:cNvCxnSpPr>
              <a:stCxn id="470" idx="7"/>
              <a:endCxn id="471" idx="2"/>
            </p:cNvCxnSpPr>
            <p:nvPr/>
          </p:nvCxnSpPr>
          <p:spPr>
            <a:xfrm flipV="1">
              <a:off x="3552298" y="3682013"/>
              <a:ext cx="680552" cy="1341903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8" name="直接连接符 437"/>
            <p:cNvCxnSpPr>
              <a:stCxn id="470" idx="0"/>
              <a:endCxn id="467" idx="4"/>
            </p:cNvCxnSpPr>
            <p:nvPr/>
          </p:nvCxnSpPr>
          <p:spPr>
            <a:xfrm flipH="1" flipV="1">
              <a:off x="3317968" y="2581627"/>
              <a:ext cx="208874" cy="2431745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9" name="直接连接符 438"/>
            <p:cNvCxnSpPr>
              <a:stCxn id="467" idx="1"/>
              <a:endCxn id="454" idx="4"/>
            </p:cNvCxnSpPr>
            <p:nvPr/>
          </p:nvCxnSpPr>
          <p:spPr>
            <a:xfrm flipH="1" flipV="1">
              <a:off x="3245968" y="1921650"/>
              <a:ext cx="46544" cy="598521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0" name="直接连接符 439"/>
            <p:cNvCxnSpPr>
              <a:stCxn id="461" idx="0"/>
              <a:endCxn id="473" idx="4"/>
            </p:cNvCxnSpPr>
            <p:nvPr/>
          </p:nvCxnSpPr>
          <p:spPr>
            <a:xfrm flipV="1">
              <a:off x="6960914" y="3689168"/>
              <a:ext cx="84641" cy="1889941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1" name="直接连接符 440"/>
            <p:cNvCxnSpPr>
              <a:stCxn id="473" idx="3"/>
              <a:endCxn id="472" idx="7"/>
            </p:cNvCxnSpPr>
            <p:nvPr/>
          </p:nvCxnSpPr>
          <p:spPr>
            <a:xfrm flipH="1">
              <a:off x="5572974" y="3678624"/>
              <a:ext cx="1447125" cy="2169681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2" name="直接连接符 441"/>
            <p:cNvCxnSpPr>
              <a:stCxn id="472" idx="6"/>
              <a:endCxn id="461" idx="2"/>
            </p:cNvCxnSpPr>
            <p:nvPr/>
          </p:nvCxnSpPr>
          <p:spPr>
            <a:xfrm flipV="1">
              <a:off x="5583518" y="5615109"/>
              <a:ext cx="1341396" cy="258652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3" name="直接连接符 442"/>
            <p:cNvCxnSpPr>
              <a:stCxn id="472" idx="5"/>
              <a:endCxn id="464" idx="1"/>
            </p:cNvCxnSpPr>
            <p:nvPr/>
          </p:nvCxnSpPr>
          <p:spPr>
            <a:xfrm>
              <a:off x="5572974" y="5899217"/>
              <a:ext cx="527898" cy="244415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4" name="直接连接符 443"/>
            <p:cNvCxnSpPr>
              <a:stCxn id="471" idx="0"/>
              <a:endCxn id="466" idx="3"/>
            </p:cNvCxnSpPr>
            <p:nvPr/>
          </p:nvCxnSpPr>
          <p:spPr>
            <a:xfrm flipV="1">
              <a:off x="4268850" y="2871133"/>
              <a:ext cx="382447" cy="77488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5" name="直接连接符 444"/>
            <p:cNvCxnSpPr>
              <a:stCxn id="470" idx="6"/>
              <a:endCxn id="472" idx="2"/>
            </p:cNvCxnSpPr>
            <p:nvPr/>
          </p:nvCxnSpPr>
          <p:spPr>
            <a:xfrm>
              <a:off x="3562842" y="5049372"/>
              <a:ext cx="1948676" cy="824389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6" name="直接连接符 445"/>
            <p:cNvCxnSpPr>
              <a:stCxn id="459" idx="6"/>
              <a:endCxn id="470" idx="2"/>
            </p:cNvCxnSpPr>
            <p:nvPr/>
          </p:nvCxnSpPr>
          <p:spPr>
            <a:xfrm>
              <a:off x="2723516" y="4804810"/>
              <a:ext cx="767326" cy="244562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7" name="直接连接符 446"/>
            <p:cNvCxnSpPr>
              <a:stCxn id="462" idx="7"/>
              <a:endCxn id="470" idx="3"/>
            </p:cNvCxnSpPr>
            <p:nvPr/>
          </p:nvCxnSpPr>
          <p:spPr>
            <a:xfrm flipV="1">
              <a:off x="3271424" y="5074828"/>
              <a:ext cx="229962" cy="510578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8" name="直接连接符 447"/>
            <p:cNvCxnSpPr>
              <a:stCxn id="463" idx="0"/>
              <a:endCxn id="470" idx="5"/>
            </p:cNvCxnSpPr>
            <p:nvPr/>
          </p:nvCxnSpPr>
          <p:spPr>
            <a:xfrm flipH="1" flipV="1">
              <a:off x="3552298" y="5074828"/>
              <a:ext cx="539139" cy="1058756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9" name="直接连接符 448"/>
            <p:cNvCxnSpPr>
              <a:stCxn id="463" idx="7"/>
              <a:endCxn id="472" idx="2"/>
            </p:cNvCxnSpPr>
            <p:nvPr/>
          </p:nvCxnSpPr>
          <p:spPr>
            <a:xfrm flipV="1">
              <a:off x="4116893" y="5873761"/>
              <a:ext cx="1394625" cy="270367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74" name="弧形 473"/>
          <p:cNvSpPr/>
          <p:nvPr/>
        </p:nvSpPr>
        <p:spPr>
          <a:xfrm rot="20632431" flipV="1">
            <a:off x="1150443" y="2505246"/>
            <a:ext cx="5367474" cy="948964"/>
          </a:xfrm>
          <a:prstGeom prst="arc">
            <a:avLst>
              <a:gd name="adj1" fmla="val 10167527"/>
              <a:gd name="adj2" fmla="val 685371"/>
            </a:avLst>
          </a:prstGeom>
          <a:ln w="38100">
            <a:solidFill>
              <a:srgbClr val="9D81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 sz="1013"/>
          </a:p>
        </p:txBody>
      </p:sp>
      <p:sp>
        <p:nvSpPr>
          <p:cNvPr id="475" name="圆角矩形 474"/>
          <p:cNvSpPr/>
          <p:nvPr/>
        </p:nvSpPr>
        <p:spPr>
          <a:xfrm>
            <a:off x="3159709" y="2084849"/>
            <a:ext cx="4920911" cy="1384103"/>
          </a:xfrm>
          <a:prstGeom prst="roundRect">
            <a:avLst/>
          </a:prstGeom>
          <a:solidFill>
            <a:srgbClr val="292130"/>
          </a:solidFill>
          <a:ln>
            <a:noFill/>
          </a:ln>
          <a:effectLst>
            <a:outerShdw blurRad="381000" dist="127000" dir="2700000" algn="tl" rotWithShape="0">
              <a:prstClr val="black">
                <a:alpha val="8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013"/>
          </a:p>
        </p:txBody>
      </p:sp>
      <p:sp>
        <p:nvSpPr>
          <p:cNvPr id="476" name="文本框 475"/>
          <p:cNvSpPr txBox="1"/>
          <p:nvPr/>
        </p:nvSpPr>
        <p:spPr>
          <a:xfrm>
            <a:off x="3395254" y="2219035"/>
            <a:ext cx="4438269" cy="10781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zh-CN" altLang="en-US" sz="2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有智能</a:t>
            </a:r>
            <a:r>
              <a:rPr lang="en-US" altLang="zh-CN" sz="2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I</a:t>
            </a:r>
            <a:r>
              <a:rPr lang="zh-CN" altLang="en-US" sz="2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代打的斗地主</a:t>
            </a:r>
            <a:endParaRPr lang="en-US" altLang="zh-CN" sz="22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just">
              <a:lnSpc>
                <a:spcPct val="150000"/>
              </a:lnSpc>
            </a:pPr>
            <a:r>
              <a:rPr lang="zh-CN" altLang="en-US" sz="11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小组成员：胡秉辉，胡云龙，马兴华，裘炜程，严晓峰</a:t>
            </a:r>
            <a:endParaRPr lang="en-US" altLang="zh-CN" sz="11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just">
              <a:lnSpc>
                <a:spcPct val="150000"/>
              </a:lnSpc>
            </a:pPr>
            <a:r>
              <a:rPr lang="zh-CN" altLang="en-US" sz="11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展示人：马兴华</a:t>
            </a:r>
            <a:endParaRPr lang="en-US" altLang="zh-CN" sz="11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77" name="等腰三角形 476"/>
          <p:cNvSpPr/>
          <p:nvPr/>
        </p:nvSpPr>
        <p:spPr>
          <a:xfrm rot="2134315">
            <a:off x="6487601" y="3485425"/>
            <a:ext cx="476415" cy="410702"/>
          </a:xfrm>
          <a:prstGeom prst="triangle">
            <a:avLst/>
          </a:prstGeom>
          <a:solidFill>
            <a:srgbClr val="A069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013"/>
          </a:p>
        </p:txBody>
      </p:sp>
      <p:sp>
        <p:nvSpPr>
          <p:cNvPr id="478" name="等腰三角形 477"/>
          <p:cNvSpPr/>
          <p:nvPr/>
        </p:nvSpPr>
        <p:spPr>
          <a:xfrm rot="12600000">
            <a:off x="8471579" y="2577412"/>
            <a:ext cx="163074" cy="140581"/>
          </a:xfrm>
          <a:prstGeom prst="triangle">
            <a:avLst/>
          </a:prstGeom>
          <a:solidFill>
            <a:srgbClr val="A252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013"/>
          </a:p>
        </p:txBody>
      </p:sp>
      <p:sp>
        <p:nvSpPr>
          <p:cNvPr id="479" name="等腰三角形 478"/>
          <p:cNvSpPr/>
          <p:nvPr/>
        </p:nvSpPr>
        <p:spPr>
          <a:xfrm rot="460079">
            <a:off x="5396210" y="1849663"/>
            <a:ext cx="314141" cy="270812"/>
          </a:xfrm>
          <a:prstGeom prst="triangle">
            <a:avLst/>
          </a:prstGeom>
          <a:solidFill>
            <a:srgbClr val="8A37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013"/>
          </a:p>
        </p:txBody>
      </p:sp>
      <p:sp>
        <p:nvSpPr>
          <p:cNvPr id="480" name="等腰三角形 479"/>
          <p:cNvSpPr/>
          <p:nvPr/>
        </p:nvSpPr>
        <p:spPr>
          <a:xfrm rot="460079">
            <a:off x="8434270" y="2270779"/>
            <a:ext cx="275478" cy="237481"/>
          </a:xfrm>
          <a:prstGeom prst="triangle">
            <a:avLst/>
          </a:prstGeom>
          <a:solidFill>
            <a:srgbClr val="8A37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013"/>
          </a:p>
        </p:txBody>
      </p:sp>
      <p:sp>
        <p:nvSpPr>
          <p:cNvPr id="481" name="等腰三角形 480"/>
          <p:cNvSpPr/>
          <p:nvPr/>
        </p:nvSpPr>
        <p:spPr>
          <a:xfrm rot="9914774">
            <a:off x="3515153" y="1983548"/>
            <a:ext cx="249357" cy="214962"/>
          </a:xfrm>
          <a:prstGeom prst="triangle">
            <a:avLst/>
          </a:prstGeom>
          <a:solidFill>
            <a:srgbClr val="A252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013"/>
          </a:p>
        </p:txBody>
      </p:sp>
      <p:sp>
        <p:nvSpPr>
          <p:cNvPr id="482" name="等腰三角形 481"/>
          <p:cNvSpPr/>
          <p:nvPr/>
        </p:nvSpPr>
        <p:spPr>
          <a:xfrm rot="7123616">
            <a:off x="3045896" y="2586091"/>
            <a:ext cx="179254" cy="199525"/>
          </a:xfrm>
          <a:prstGeom prst="triangle">
            <a:avLst/>
          </a:prstGeom>
          <a:solidFill>
            <a:srgbClr val="8A37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013"/>
          </a:p>
        </p:txBody>
      </p:sp>
      <p:sp>
        <p:nvSpPr>
          <p:cNvPr id="483" name="等腰三角形 482"/>
          <p:cNvSpPr/>
          <p:nvPr/>
        </p:nvSpPr>
        <p:spPr>
          <a:xfrm rot="3215337">
            <a:off x="6778816" y="3641544"/>
            <a:ext cx="330229" cy="284680"/>
          </a:xfrm>
          <a:prstGeom prst="triangle">
            <a:avLst/>
          </a:prstGeom>
          <a:solidFill>
            <a:srgbClr val="A353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013"/>
          </a:p>
        </p:txBody>
      </p:sp>
    </p:spTree>
    <p:extLst>
      <p:ext uri="{BB962C8B-B14F-4D97-AF65-F5344CB8AC3E}">
        <p14:creationId xmlns:p14="http://schemas.microsoft.com/office/powerpoint/2010/main" val="3697926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4000" advTm="0">
        <p14:vortex dir="r"/>
      </p:transition>
    </mc:Choice>
    <mc:Fallback xmlns="">
      <p:transition spd="slow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34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xit" presetSubtype="0" fill="hold" nodeType="withEffect">
                                  <p:stCondLst>
                                    <p:cond delay="3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500"/>
                                        <p:tgtEl>
                                          <p:spTgt spid="34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xit" presetSubtype="0" fill="hold" nodeType="withEffect">
                                  <p:stCondLst>
                                    <p:cond delay="5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" dur="500"/>
                                        <p:tgtEl>
                                          <p:spTgt spid="34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60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xit" presetSubtype="0" fill="hold" nodeType="withEffect">
                                  <p:stCondLst>
                                    <p:cond delay="7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" dur="500"/>
                                        <p:tgtEl>
                                          <p:spTgt spid="34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8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xit" presetSubtype="0" fill="hold" nodeType="withEffect">
                                  <p:stCondLst>
                                    <p:cond delay="9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3" dur="500"/>
                                        <p:tgtEl>
                                          <p:spTgt spid="34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100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xit" presetSubtype="0" fill="hold" nodeType="withEffect">
                                  <p:stCondLst>
                                    <p:cond delay="11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9" dur="500"/>
                                        <p:tgtEl>
                                          <p:spTgt spid="34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120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3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xit" presetSubtype="0" fill="hold" nodeType="withEffect">
                                  <p:stCondLst>
                                    <p:cond delay="13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5" dur="500"/>
                                        <p:tgtEl>
                                          <p:spTgt spid="34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140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3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1000"/>
                                        <p:tgtEl>
                                          <p:spTgt spid="3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xit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4" dur="1000"/>
                                        <p:tgtEl>
                                          <p:spTgt spid="34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3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1000"/>
                                        <p:tgtEl>
                                          <p:spTgt spid="3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xit" presetSubtype="0" fill="hold" nodeType="withEffect">
                                  <p:stCondLst>
                                    <p:cond delay="3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0" dur="1000"/>
                                        <p:tgtEl>
                                          <p:spTgt spid="34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3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nodeType="withEffect">
                                  <p:stCondLst>
                                    <p:cond delay="450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1000"/>
                                        <p:tgtEl>
                                          <p:spTgt spid="3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6" dur="1000"/>
                                        <p:tgtEl>
                                          <p:spTgt spid="34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3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nodeType="withEffect">
                                  <p:stCondLst>
                                    <p:cond delay="650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1000"/>
                                        <p:tgtEl>
                                          <p:spTgt spid="3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xit" presetSubtype="0" fill="hold" nodeType="withEffect">
                                  <p:stCondLst>
                                    <p:cond delay="7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2" dur="1000"/>
                                        <p:tgtEl>
                                          <p:spTgt spid="34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3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nodeType="withEffect">
                                  <p:stCondLst>
                                    <p:cond delay="850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1000"/>
                                        <p:tgtEl>
                                          <p:spTgt spid="3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xit" presetSubtype="0" fill="hold" nodeType="withEffect">
                                  <p:stCondLst>
                                    <p:cond delay="9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8" dur="1000"/>
                                        <p:tgtEl>
                                          <p:spTgt spid="34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3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nodeType="withEffect">
                                  <p:stCondLst>
                                    <p:cond delay="1050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1000"/>
                                        <p:tgtEl>
                                          <p:spTgt spid="3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0" presetClass="exit" presetSubtype="0" fill="hold" nodeType="withEffect">
                                  <p:stCondLst>
                                    <p:cond delay="11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4" dur="1000"/>
                                        <p:tgtEl>
                                          <p:spTgt spid="34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3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6" presetID="10" presetClass="entr" presetSubtype="0" fill="hold" nodeType="withEffect">
                                  <p:stCondLst>
                                    <p:cond delay="1250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1000"/>
                                        <p:tgtEl>
                                          <p:spTgt spid="3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10" presetClass="exit" presetSubtype="0" fill="hold" nodeType="withEffect">
                                  <p:stCondLst>
                                    <p:cond delay="13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0" dur="1000"/>
                                        <p:tgtEl>
                                          <p:spTgt spid="34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3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2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3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10" presetClass="exit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6" dur="500"/>
                                        <p:tgtEl>
                                          <p:spTgt spid="34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8" presetID="10" presetClass="entr" presetSubtype="0" fill="hold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500"/>
                                        <p:tgtEl>
                                          <p:spTgt spid="3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10" presetClass="exit" presetSubtype="0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2" dur="500"/>
                                        <p:tgtEl>
                                          <p:spTgt spid="34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4" presetID="10" presetClass="entr" presetSubtype="0" fill="hold" nodeType="withEffect">
                                  <p:stCondLst>
                                    <p:cond delay="500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6" dur="500"/>
                                        <p:tgtEl>
                                          <p:spTgt spid="3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7" presetID="10" presetClass="exit" presetSubtype="0" fill="hold" nodeType="withEffect">
                                  <p:stCondLst>
                                    <p:cond delay="6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8" dur="500"/>
                                        <p:tgtEl>
                                          <p:spTgt spid="34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0" presetID="10" presetClass="entr" presetSubtype="0" fill="hold" nodeType="withEffect">
                                  <p:stCondLst>
                                    <p:cond delay="700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2" dur="500"/>
                                        <p:tgtEl>
                                          <p:spTgt spid="3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3" presetID="10" presetClass="exit" presetSubtype="0" fill="hold" nodeType="withEffect">
                                  <p:stCondLst>
                                    <p:cond delay="8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4" dur="500"/>
                                        <p:tgtEl>
                                          <p:spTgt spid="34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6" presetID="10" presetClass="entr" presetSubtype="0" fill="hold" nodeType="withEffect">
                                  <p:stCondLst>
                                    <p:cond delay="900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8" dur="500"/>
                                        <p:tgtEl>
                                          <p:spTgt spid="3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9" presetID="10" presetClass="exit" presetSubtype="0" fill="hold" nodeType="withEffect">
                                  <p:stCondLst>
                                    <p:cond delay="10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0" dur="500"/>
                                        <p:tgtEl>
                                          <p:spTgt spid="34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2" presetID="10" presetClass="entr" presetSubtype="0" fill="hold" nodeType="withEffect">
                                  <p:stCondLst>
                                    <p:cond delay="1100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4" dur="500"/>
                                        <p:tgtEl>
                                          <p:spTgt spid="3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5" presetID="10" presetClass="exit" presetSubtype="0" fill="hold" nodeType="withEffect">
                                  <p:stCondLst>
                                    <p:cond delay="12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6" dur="500"/>
                                        <p:tgtEl>
                                          <p:spTgt spid="34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8" presetID="10" presetClass="entr" presetSubtype="0" fill="hold" nodeType="withEffect">
                                  <p:stCondLst>
                                    <p:cond delay="1300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0" dur="500"/>
                                        <p:tgtEl>
                                          <p:spTgt spid="3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1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3" dur="500"/>
                                        <p:tgtEl>
                                          <p:spTgt spid="3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4" presetID="10" presetClass="exit" presetSubtype="0" fill="hold" nodeType="withEffect">
                                  <p:stCondLst>
                                    <p:cond delay="2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5" dur="500"/>
                                        <p:tgtEl>
                                          <p:spTgt spid="34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7" presetID="10" presetClass="entr" presetSubtype="0" fill="hold" nodeType="withEffect">
                                  <p:stCondLst>
                                    <p:cond delay="350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9" dur="500"/>
                                        <p:tgtEl>
                                          <p:spTgt spid="3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0" presetID="10" presetClass="exit" presetSubtype="0" fill="hold" nodeType="withEffect">
                                  <p:stCondLst>
                                    <p:cond delay="4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1" dur="500"/>
                                        <p:tgtEl>
                                          <p:spTgt spid="34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3" presetID="10" presetClass="entr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5" dur="500"/>
                                        <p:tgtEl>
                                          <p:spTgt spid="3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6" presetID="10" presetClass="exit" presetSubtype="0" fill="hold" nodeType="withEffect">
                                  <p:stCondLst>
                                    <p:cond delay="6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7" dur="500"/>
                                        <p:tgtEl>
                                          <p:spTgt spid="34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9" presetID="10" presetClass="entr" presetSubtype="0" fill="hold" nodeType="withEffect">
                                  <p:stCondLst>
                                    <p:cond delay="750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1" dur="500"/>
                                        <p:tgtEl>
                                          <p:spTgt spid="3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2" presetID="10" presetClass="exit" presetSubtype="0" fill="hold" nodeType="withEffect">
                                  <p:stCondLst>
                                    <p:cond delay="8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3" dur="500"/>
                                        <p:tgtEl>
                                          <p:spTgt spid="34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5" presetID="10" presetClass="entr" presetSubtype="0" fill="hold" nodeType="withEffect">
                                  <p:stCondLst>
                                    <p:cond delay="950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7" dur="500"/>
                                        <p:tgtEl>
                                          <p:spTgt spid="3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8" presetID="10" presetClass="exit" presetSubtype="0" fill="hold" nodeType="withEffect">
                                  <p:stCondLst>
                                    <p:cond delay="10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9" dur="500"/>
                                        <p:tgtEl>
                                          <p:spTgt spid="34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1" presetID="10" presetClass="entr" presetSubtype="0" fill="hold" nodeType="withEffect">
                                  <p:stCondLst>
                                    <p:cond delay="1150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3" dur="500"/>
                                        <p:tgtEl>
                                          <p:spTgt spid="3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4" presetID="10" presetClass="exit" presetSubtype="0" fill="hold" nodeType="withEffect">
                                  <p:stCondLst>
                                    <p:cond delay="12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5" dur="500"/>
                                        <p:tgtEl>
                                          <p:spTgt spid="34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7" presetID="10" presetClass="entr" presetSubtype="0" fill="hold" nodeType="withEffect">
                                  <p:stCondLst>
                                    <p:cond delay="13500"/>
                                  </p:stCondLst>
                                  <p:childTnLst>
                                    <p:set>
                                      <p:cBhvr>
                                        <p:cTn id="1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9" dur="500"/>
                                        <p:tgtEl>
                                          <p:spTgt spid="3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0" presetID="10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2" dur="500"/>
                                        <p:tgtEl>
                                          <p:spTgt spid="3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3" presetID="10" presetClass="exit" presetSubtype="0" fill="hold" nodeType="withEffect">
                                  <p:stCondLst>
                                    <p:cond delay="3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4" dur="500"/>
                                        <p:tgtEl>
                                          <p:spTgt spid="34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6" presetID="10" presetClass="entr" presetSubtype="0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1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8" dur="500"/>
                                        <p:tgtEl>
                                          <p:spTgt spid="3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9" presetID="10" presetClass="exit" presetSubtype="0" fill="hold" nodeType="withEffect">
                                  <p:stCondLst>
                                    <p:cond delay="5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0" dur="500"/>
                                        <p:tgtEl>
                                          <p:spTgt spid="34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2" presetID="10" presetClass="entr" presetSubtype="0" fill="hold" nodeType="withEffect">
                                  <p:stCondLst>
                                    <p:cond delay="6000"/>
                                  </p:stCondLst>
                                  <p:childTnLst>
                                    <p:set>
                                      <p:cBhvr>
                                        <p:cTn id="1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4" dur="500"/>
                                        <p:tgtEl>
                                          <p:spTgt spid="3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5" presetID="10" presetClass="exit" presetSubtype="0" fill="hold" nodeType="withEffect">
                                  <p:stCondLst>
                                    <p:cond delay="7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6" dur="500"/>
                                        <p:tgtEl>
                                          <p:spTgt spid="34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8" presetID="10" presetClass="entr" presetSubtype="0" fill="hold" nodeType="withEffect">
                                  <p:stCondLst>
                                    <p:cond delay="8000"/>
                                  </p:stCondLst>
                                  <p:childTnLst>
                                    <p:set>
                                      <p:cBhvr>
                                        <p:cTn id="1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0" dur="500"/>
                                        <p:tgtEl>
                                          <p:spTgt spid="3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1" presetID="10" presetClass="exit" presetSubtype="0" fill="hold" nodeType="withEffect">
                                  <p:stCondLst>
                                    <p:cond delay="9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92" dur="500"/>
                                        <p:tgtEl>
                                          <p:spTgt spid="34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4" presetID="10" presetClass="entr" presetSubtype="0" fill="hold" nodeType="withEffect">
                                  <p:stCondLst>
                                    <p:cond delay="10000"/>
                                  </p:stCondLst>
                                  <p:childTnLst>
                                    <p:set>
                                      <p:cBhvr>
                                        <p:cTn id="1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6" dur="500"/>
                                        <p:tgtEl>
                                          <p:spTgt spid="3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7" presetID="10" presetClass="exit" presetSubtype="0" fill="hold" nodeType="withEffect">
                                  <p:stCondLst>
                                    <p:cond delay="11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98" dur="500"/>
                                        <p:tgtEl>
                                          <p:spTgt spid="34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0" presetID="10" presetClass="entr" presetSubtype="0" fill="hold" nodeType="withEffect">
                                  <p:stCondLst>
                                    <p:cond delay="12000"/>
                                  </p:stCondLst>
                                  <p:childTnLst>
                                    <p:set>
                                      <p:cBhvr>
                                        <p:cTn id="2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2" dur="500"/>
                                        <p:tgtEl>
                                          <p:spTgt spid="3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3" presetID="10" presetClass="exit" presetSubtype="0" fill="hold" nodeType="withEffect">
                                  <p:stCondLst>
                                    <p:cond delay="13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04" dur="500"/>
                                        <p:tgtEl>
                                          <p:spTgt spid="34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0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6" presetID="10" presetClass="entr" presetSubtype="0" fill="hold" nodeType="withEffect">
                                  <p:stCondLst>
                                    <p:cond delay="14000"/>
                                  </p:stCondLst>
                                  <p:childTnLst>
                                    <p:set>
                                      <p:cBhvr>
                                        <p:cTn id="2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8" dur="500"/>
                                        <p:tgtEl>
                                          <p:spTgt spid="3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9" presetID="21" presetClass="entr" presetSubtype="1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11" dur="2000"/>
                                        <p:tgtEl>
                                          <p:spTgt spid="3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2" presetID="10" presetClass="entr" presetSubtype="0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4" dur="750"/>
                                        <p:tgtEl>
                                          <p:spTgt spid="3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5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7" dur="750"/>
                                        <p:tgtEl>
                                          <p:spTgt spid="3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8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0" dur="750"/>
                                        <p:tgtEl>
                                          <p:spTgt spid="4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1" presetID="22" presetClass="entr" presetSubtype="4" fill="hold" nodeType="withEffect">
                                  <p:stCondLst>
                                    <p:cond delay="4250"/>
                                  </p:stCondLst>
                                  <p:childTnLst>
                                    <p:set>
                                      <p:cBhvr>
                                        <p:cTn id="2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3" dur="750"/>
                                        <p:tgtEl>
                                          <p:spTgt spid="4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4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6" dur="750"/>
                                        <p:tgtEl>
                                          <p:spTgt spid="4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7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9" dur="750"/>
                                        <p:tgtEl>
                                          <p:spTgt spid="4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0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2" dur="750"/>
                                        <p:tgtEl>
                                          <p:spTgt spid="4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3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5" dur="750"/>
                                        <p:tgtEl>
                                          <p:spTgt spid="4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6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8" dur="750"/>
                                        <p:tgtEl>
                                          <p:spTgt spid="3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9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1" dur="750"/>
                                        <p:tgtEl>
                                          <p:spTgt spid="3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2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4" dur="750"/>
                                        <p:tgtEl>
                                          <p:spTgt spid="3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5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7" dur="750"/>
                                        <p:tgtEl>
                                          <p:spTgt spid="3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8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0" dur="750"/>
                                        <p:tgtEl>
                                          <p:spTgt spid="3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1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3" dur="750"/>
                                        <p:tgtEl>
                                          <p:spTgt spid="3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4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6" dur="750"/>
                                        <p:tgtEl>
                                          <p:spTgt spid="3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7" presetID="22" presetClass="entr" presetSubtype="4" fill="hold" nodeType="withEffect">
                                  <p:stCondLst>
                                    <p:cond delay="4750"/>
                                  </p:stCondLst>
                                  <p:childTnLst>
                                    <p:set>
                                      <p:cBhvr>
                                        <p:cTn id="2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9" dur="750"/>
                                        <p:tgtEl>
                                          <p:spTgt spid="3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0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62" dur="750"/>
                                        <p:tgtEl>
                                          <p:spTgt spid="3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3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65" dur="750"/>
                                        <p:tgtEl>
                                          <p:spTgt spid="4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6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68" dur="750"/>
                                        <p:tgtEl>
                                          <p:spTgt spid="4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9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1" dur="750"/>
                                        <p:tgtEl>
                                          <p:spTgt spid="3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2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4" dur="750"/>
                                        <p:tgtEl>
                                          <p:spTgt spid="3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5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7" dur="750"/>
                                        <p:tgtEl>
                                          <p:spTgt spid="4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8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80" dur="750"/>
                                        <p:tgtEl>
                                          <p:spTgt spid="3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1" presetID="22" presetClass="entr" presetSubtype="4" fill="hold" nodeType="withEffect">
                                  <p:stCondLst>
                                    <p:cond delay="4750"/>
                                  </p:stCondLst>
                                  <p:childTnLst>
                                    <p:set>
                                      <p:cBhvr>
                                        <p:cTn id="2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83" dur="750"/>
                                        <p:tgtEl>
                                          <p:spTgt spid="3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4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86" dur="750"/>
                                        <p:tgtEl>
                                          <p:spTgt spid="3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7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89" dur="750"/>
                                        <p:tgtEl>
                                          <p:spTgt spid="3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0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92" dur="750"/>
                                        <p:tgtEl>
                                          <p:spTgt spid="3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3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95" dur="750"/>
                                        <p:tgtEl>
                                          <p:spTgt spid="3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6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98" dur="750"/>
                                        <p:tgtEl>
                                          <p:spTgt spid="3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9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3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01" dur="750"/>
                                        <p:tgtEl>
                                          <p:spTgt spid="3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2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3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04" dur="750"/>
                                        <p:tgtEl>
                                          <p:spTgt spid="3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5" presetID="22" presetClass="entr" presetSubtype="4" fill="hold" nodeType="withEffect">
                                  <p:stCondLst>
                                    <p:cond delay="4750"/>
                                  </p:stCondLst>
                                  <p:childTnLst>
                                    <p:set>
                                      <p:cBhvr>
                                        <p:cTn id="3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07" dur="750"/>
                                        <p:tgtEl>
                                          <p:spTgt spid="3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8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3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0" dur="750"/>
                                        <p:tgtEl>
                                          <p:spTgt spid="3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1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3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3" dur="750"/>
                                        <p:tgtEl>
                                          <p:spTgt spid="4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4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3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6" dur="750"/>
                                        <p:tgtEl>
                                          <p:spTgt spid="3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7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3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9" dur="750"/>
                                        <p:tgtEl>
                                          <p:spTgt spid="3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0" presetID="22" presetClass="entr" presetSubtype="4" fill="hold" nodeType="withEffect">
                                  <p:stCondLst>
                                    <p:cond delay="4750"/>
                                  </p:stCondLst>
                                  <p:childTnLst>
                                    <p:set>
                                      <p:cBhvr>
                                        <p:cTn id="3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22" dur="750"/>
                                        <p:tgtEl>
                                          <p:spTgt spid="4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3" presetID="1" presetClass="exit" presetSubtype="0" fill="hold" grpId="1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5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7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9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1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3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5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7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9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1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3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5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7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9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1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3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5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7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9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1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3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5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7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9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1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3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5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7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9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1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3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5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7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9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1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3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5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7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9" presetID="1" presetClass="entr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4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1" presetID="8" presetClass="emph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animRot by="21600000">
                                      <p:cBhvr>
                                        <p:cTn id="402" dur="10000" fill="hold"/>
                                        <p:tgtEl>
                                          <p:spTgt spid="41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403" presetID="53" presetClass="entr" presetSubtype="16" fill="hold" nodeType="withEffect">
                                  <p:stCondLst>
                                    <p:cond delay="7000"/>
                                  </p:stCondLst>
                                  <p:childTnLst>
                                    <p:set>
                                      <p:cBhvr>
                                        <p:cTn id="4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5" dur="2500" fill="hold"/>
                                        <p:tgtEl>
                                          <p:spTgt spid="34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6" dur="2500" fill="hold"/>
                                        <p:tgtEl>
                                          <p:spTgt spid="34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07" dur="2500"/>
                                        <p:tgtEl>
                                          <p:spTgt spid="3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8" presetID="8" presetClass="emph" presetSubtype="0" fill="hold" nodeType="withEffect">
                                  <p:stCondLst>
                                    <p:cond delay="7000"/>
                                  </p:stCondLst>
                                  <p:childTnLst>
                                    <p:animRot by="-21600000">
                                      <p:cBhvr>
                                        <p:cTn id="409" dur="8500" fill="hold"/>
                                        <p:tgtEl>
                                          <p:spTgt spid="34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410" presetID="22" presetClass="entr" presetSubtype="2" fill="hold" grpId="0" nodeType="withEffect">
                                  <p:stCondLst>
                                    <p:cond delay="10500"/>
                                  </p:stCondLst>
                                  <p:childTnLst>
                                    <p:set>
                                      <p:cBhvr>
                                        <p:cTn id="4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12" dur="1000"/>
                                        <p:tgtEl>
                                          <p:spTgt spid="4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3" presetID="2" presetClass="entr" presetSubtype="2" fill="hold" grpId="0" nodeType="withEffect">
                                  <p:stCondLst>
                                    <p:cond delay="11750"/>
                                  </p:stCondLst>
                                  <p:childTnLst>
                                    <p:set>
                                      <p:cBhvr>
                                        <p:cTn id="4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5" dur="1000" fill="hold"/>
                                        <p:tgtEl>
                                          <p:spTgt spid="4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16" dur="1000" fill="hold"/>
                                        <p:tgtEl>
                                          <p:spTgt spid="4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7" presetID="2" presetClass="entr" presetSubtype="9" fill="hold" grpId="0" nodeType="withEffect">
                                  <p:stCondLst>
                                    <p:cond delay="13250"/>
                                  </p:stCondLst>
                                  <p:childTnLst>
                                    <p:set>
                                      <p:cBhvr>
                                        <p:cTn id="4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9" dur="1000" fill="hold"/>
                                        <p:tgtEl>
                                          <p:spTgt spid="4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0" dur="1000" fill="hold"/>
                                        <p:tgtEl>
                                          <p:spTgt spid="4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1" presetID="2" presetClass="entr" presetSubtype="1" fill="hold" grpId="0" nodeType="withEffect">
                                  <p:stCondLst>
                                    <p:cond delay="13500"/>
                                  </p:stCondLst>
                                  <p:childTnLst>
                                    <p:set>
                                      <p:cBhvr>
                                        <p:cTn id="4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3" dur="1000" fill="hold"/>
                                        <p:tgtEl>
                                          <p:spTgt spid="4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4" dur="1000" fill="hold"/>
                                        <p:tgtEl>
                                          <p:spTgt spid="4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5" presetID="2" presetClass="entr" presetSubtype="1" fill="hold" grpId="0" nodeType="withEffect">
                                  <p:stCondLst>
                                    <p:cond delay="13250"/>
                                  </p:stCondLst>
                                  <p:childTnLst>
                                    <p:set>
                                      <p:cBhvr>
                                        <p:cTn id="4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7" dur="1000" fill="hold"/>
                                        <p:tgtEl>
                                          <p:spTgt spid="47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8" dur="1000" fill="hold"/>
                                        <p:tgtEl>
                                          <p:spTgt spid="4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9" presetID="2" presetClass="entr" presetSubtype="3" fill="hold" grpId="0" nodeType="withEffect">
                                  <p:stCondLst>
                                    <p:cond delay="13500"/>
                                  </p:stCondLst>
                                  <p:childTnLst>
                                    <p:set>
                                      <p:cBhvr>
                                        <p:cTn id="4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1" dur="1000" fill="hold"/>
                                        <p:tgtEl>
                                          <p:spTgt spid="4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2" dur="1000" fill="hold"/>
                                        <p:tgtEl>
                                          <p:spTgt spid="4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3" presetID="2" presetClass="entr" presetSubtype="3" fill="hold" grpId="0" nodeType="withEffect">
                                  <p:stCondLst>
                                    <p:cond delay="13250"/>
                                  </p:stCondLst>
                                  <p:childTnLst>
                                    <p:set>
                                      <p:cBhvr>
                                        <p:cTn id="4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5" dur="1000" fill="hold"/>
                                        <p:tgtEl>
                                          <p:spTgt spid="4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6" dur="1000" fill="hold"/>
                                        <p:tgtEl>
                                          <p:spTgt spid="4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7" presetID="2" presetClass="entr" presetSubtype="4" fill="hold" grpId="0" nodeType="withEffect">
                                  <p:stCondLst>
                                    <p:cond delay="13250"/>
                                  </p:stCondLst>
                                  <p:childTnLst>
                                    <p:set>
                                      <p:cBhvr>
                                        <p:cTn id="4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9" dur="1000" fill="hold"/>
                                        <p:tgtEl>
                                          <p:spTgt spid="4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0" dur="1000" fill="hold"/>
                                        <p:tgtEl>
                                          <p:spTgt spid="4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41" presetID="2" presetClass="entr" presetSubtype="4" fill="hold" grpId="0" nodeType="withEffect">
                                  <p:stCondLst>
                                    <p:cond delay="13500"/>
                                  </p:stCondLst>
                                  <p:childTnLst>
                                    <p:set>
                                      <p:cBhvr>
                                        <p:cTn id="4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43" dur="1000" fill="hold"/>
                                        <p:tgtEl>
                                          <p:spTgt spid="4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4" dur="1000" fill="hold"/>
                                        <p:tgtEl>
                                          <p:spTgt spid="4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5" fill="hold">
                      <p:stCondLst>
                        <p:cond delay="indefinite"/>
                      </p:stCondLst>
                      <p:childTnLst>
                        <p:par>
                          <p:cTn id="446" fill="hold">
                            <p:stCondLst>
                              <p:cond delay="0"/>
                            </p:stCondLst>
                            <p:childTnLst>
                              <p:par>
                                <p:cTn id="447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4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49" dur="500"/>
                                        <p:tgtEl>
                                          <p:spTgt spid="4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9" grpId="0" animBg="1"/>
      <p:bldP spid="349" grpId="1" animBg="1"/>
      <p:bldP spid="474" grpId="0" animBg="1"/>
      <p:bldP spid="475" grpId="0" animBg="1"/>
      <p:bldP spid="476" grpId="0"/>
      <p:bldP spid="477" grpId="0" animBg="1"/>
      <p:bldP spid="478" grpId="0" animBg="1"/>
      <p:bldP spid="479" grpId="0" animBg="1"/>
      <p:bldP spid="480" grpId="0" animBg="1"/>
      <p:bldP spid="481" grpId="0" animBg="1"/>
      <p:bldP spid="482" grpId="0" animBg="1"/>
      <p:bldP spid="483" grpId="0" animBg="1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合 3"/>
          <p:cNvGrpSpPr/>
          <p:nvPr/>
        </p:nvGrpSpPr>
        <p:grpSpPr>
          <a:xfrm>
            <a:off x="-537" y="1"/>
            <a:ext cx="9215178" cy="5200022"/>
            <a:chOff x="-716" y="-1"/>
            <a:chExt cx="12286904" cy="6933363"/>
          </a:xfrm>
        </p:grpSpPr>
        <p:pic>
          <p:nvPicPr>
            <p:cNvPr id="5" name="图片 4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" y="-1"/>
              <a:ext cx="12269037" cy="6933363"/>
            </a:xfrm>
            <a:prstGeom prst="rect">
              <a:avLst/>
            </a:prstGeom>
          </p:spPr>
        </p:pic>
        <p:pic>
          <p:nvPicPr>
            <p:cNvPr id="6" name="图片 5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716" y="0"/>
              <a:ext cx="12286904" cy="6910571"/>
            </a:xfrm>
            <a:prstGeom prst="rect">
              <a:avLst/>
            </a:prstGeom>
          </p:spPr>
        </p:pic>
      </p:grpSp>
      <p:grpSp>
        <p:nvGrpSpPr>
          <p:cNvPr id="7" name="组合 6"/>
          <p:cNvGrpSpPr/>
          <p:nvPr/>
        </p:nvGrpSpPr>
        <p:grpSpPr>
          <a:xfrm>
            <a:off x="1129523" y="3258033"/>
            <a:ext cx="1181727" cy="1180618"/>
            <a:chOff x="1308745" y="2394284"/>
            <a:chExt cx="2326780" cy="2324596"/>
          </a:xfrm>
        </p:grpSpPr>
        <p:pic>
          <p:nvPicPr>
            <p:cNvPr id="8" name="图片 7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00162" y="2491188"/>
              <a:ext cx="2143001" cy="2140801"/>
            </a:xfrm>
            <a:prstGeom prst="rect">
              <a:avLst/>
            </a:prstGeom>
          </p:spPr>
        </p:pic>
        <p:grpSp>
          <p:nvGrpSpPr>
            <p:cNvPr id="9" name="组合 8"/>
            <p:cNvGrpSpPr/>
            <p:nvPr/>
          </p:nvGrpSpPr>
          <p:grpSpPr>
            <a:xfrm>
              <a:off x="1308745" y="2394284"/>
              <a:ext cx="2326780" cy="2324596"/>
              <a:chOff x="2433048" y="1083945"/>
              <a:chExt cx="5333787" cy="5328780"/>
            </a:xfrm>
          </p:grpSpPr>
          <p:sp>
            <p:nvSpPr>
              <p:cNvPr id="10" name="十六角星 9"/>
              <p:cNvSpPr/>
              <p:nvPr/>
            </p:nvSpPr>
            <p:spPr>
              <a:xfrm>
                <a:off x="2470676" y="1127265"/>
                <a:ext cx="5254344" cy="5254344"/>
              </a:xfrm>
              <a:prstGeom prst="star16">
                <a:avLst>
                  <a:gd name="adj" fmla="val 49459"/>
                </a:avLst>
              </a:prstGeom>
              <a:noFill/>
              <a:ln w="6350">
                <a:solidFill>
                  <a:srgbClr val="9D819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grpSp>
            <p:nvGrpSpPr>
              <p:cNvPr id="11" name="组合 10"/>
              <p:cNvGrpSpPr/>
              <p:nvPr/>
            </p:nvGrpSpPr>
            <p:grpSpPr>
              <a:xfrm>
                <a:off x="2433048" y="1083945"/>
                <a:ext cx="5333787" cy="5328780"/>
                <a:chOff x="2280648" y="931545"/>
                <a:chExt cx="5333787" cy="5328780"/>
              </a:xfrm>
            </p:grpSpPr>
            <p:sp>
              <p:nvSpPr>
                <p:cNvPr id="48" name="椭圆 47"/>
                <p:cNvSpPr/>
                <p:nvPr/>
              </p:nvSpPr>
              <p:spPr>
                <a:xfrm>
                  <a:off x="3903037" y="1131665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49" name="椭圆 48"/>
                <p:cNvSpPr/>
                <p:nvPr/>
              </p:nvSpPr>
              <p:spPr>
                <a:xfrm>
                  <a:off x="4916848" y="931545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50" name="椭圆 49"/>
                <p:cNvSpPr/>
                <p:nvPr/>
              </p:nvSpPr>
              <p:spPr>
                <a:xfrm>
                  <a:off x="5937928" y="1131169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51" name="椭圆 50"/>
                <p:cNvSpPr/>
                <p:nvPr/>
              </p:nvSpPr>
              <p:spPr>
                <a:xfrm>
                  <a:off x="6763087" y="170149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52" name="椭圆 51"/>
                <p:cNvSpPr/>
                <p:nvPr/>
              </p:nvSpPr>
              <p:spPr>
                <a:xfrm>
                  <a:off x="3057568" y="1697250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53" name="椭圆 52"/>
                <p:cNvSpPr/>
                <p:nvPr/>
              </p:nvSpPr>
              <p:spPr>
                <a:xfrm>
                  <a:off x="2481128" y="2556341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54" name="椭圆 53"/>
                <p:cNvSpPr/>
                <p:nvPr/>
              </p:nvSpPr>
              <p:spPr>
                <a:xfrm>
                  <a:off x="7344374" y="2556341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55" name="椭圆 54"/>
                <p:cNvSpPr/>
                <p:nvPr/>
              </p:nvSpPr>
              <p:spPr>
                <a:xfrm>
                  <a:off x="7542435" y="354803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56" name="椭圆 55"/>
                <p:cNvSpPr/>
                <p:nvPr/>
              </p:nvSpPr>
              <p:spPr>
                <a:xfrm>
                  <a:off x="2280648" y="354803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57" name="椭圆 56"/>
                <p:cNvSpPr/>
                <p:nvPr/>
              </p:nvSpPr>
              <p:spPr>
                <a:xfrm>
                  <a:off x="2499116" y="4616410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58" name="椭圆 57"/>
                <p:cNvSpPr/>
                <p:nvPr/>
              </p:nvSpPr>
              <p:spPr>
                <a:xfrm>
                  <a:off x="7321514" y="4589735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59" name="椭圆 58"/>
                <p:cNvSpPr/>
                <p:nvPr/>
              </p:nvSpPr>
              <p:spPr>
                <a:xfrm>
                  <a:off x="6772514" y="5426709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60" name="椭圆 59"/>
                <p:cNvSpPr/>
                <p:nvPr/>
              </p:nvSpPr>
              <p:spPr>
                <a:xfrm>
                  <a:off x="3057568" y="5422462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61" name="椭圆 60"/>
                <p:cNvSpPr/>
                <p:nvPr/>
              </p:nvSpPr>
              <p:spPr>
                <a:xfrm>
                  <a:off x="3903037" y="5981184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62" name="椭圆 61"/>
                <p:cNvSpPr/>
                <p:nvPr/>
              </p:nvSpPr>
              <p:spPr>
                <a:xfrm>
                  <a:off x="5937928" y="5980688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63" name="椭圆 62"/>
                <p:cNvSpPr/>
                <p:nvPr/>
              </p:nvSpPr>
              <p:spPr>
                <a:xfrm>
                  <a:off x="4916848" y="6188325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64" name="椭圆 63"/>
                <p:cNvSpPr/>
                <p:nvPr/>
              </p:nvSpPr>
              <p:spPr>
                <a:xfrm>
                  <a:off x="4488353" y="265727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65" name="椭圆 64"/>
                <p:cNvSpPr/>
                <p:nvPr/>
              </p:nvSpPr>
              <p:spPr>
                <a:xfrm>
                  <a:off x="3129568" y="235722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66" name="椭圆 65"/>
                <p:cNvSpPr/>
                <p:nvPr/>
              </p:nvSpPr>
              <p:spPr>
                <a:xfrm>
                  <a:off x="6107323" y="257222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67" name="椭圆 66"/>
                <p:cNvSpPr/>
                <p:nvPr/>
              </p:nvSpPr>
              <p:spPr>
                <a:xfrm>
                  <a:off x="5431118" y="1544823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68" name="椭圆 67"/>
                <p:cNvSpPr/>
                <p:nvPr/>
              </p:nvSpPr>
              <p:spPr>
                <a:xfrm>
                  <a:off x="3338442" y="4860972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69" name="椭圆 68"/>
                <p:cNvSpPr/>
                <p:nvPr/>
              </p:nvSpPr>
              <p:spPr>
                <a:xfrm>
                  <a:off x="4080450" y="3493613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70" name="椭圆 69"/>
                <p:cNvSpPr/>
                <p:nvPr/>
              </p:nvSpPr>
              <p:spPr>
                <a:xfrm>
                  <a:off x="5359118" y="5685361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71" name="椭圆 70"/>
                <p:cNvSpPr/>
                <p:nvPr/>
              </p:nvSpPr>
              <p:spPr>
                <a:xfrm>
                  <a:off x="6857155" y="3464768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</p:grpSp>
          <p:cxnSp>
            <p:nvCxnSpPr>
              <p:cNvPr id="12" name="直接连接符 11"/>
              <p:cNvCxnSpPr>
                <a:stCxn id="49" idx="4"/>
                <a:endCxn id="67" idx="0"/>
              </p:cNvCxnSpPr>
              <p:nvPr/>
            </p:nvCxnSpPr>
            <p:spPr>
              <a:xfrm>
                <a:off x="5105248" y="1155945"/>
                <a:ext cx="514270" cy="54127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直接连接符 12"/>
              <p:cNvCxnSpPr>
                <a:stCxn id="48" idx="5"/>
                <a:endCxn id="67" idx="2"/>
              </p:cNvCxnSpPr>
              <p:nvPr/>
            </p:nvCxnSpPr>
            <p:spPr>
              <a:xfrm>
                <a:off x="4116893" y="1345521"/>
                <a:ext cx="1466625" cy="38770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直接连接符 13"/>
              <p:cNvCxnSpPr>
                <a:stCxn id="65" idx="0"/>
                <a:endCxn id="48" idx="4"/>
              </p:cNvCxnSpPr>
              <p:nvPr/>
            </p:nvCxnSpPr>
            <p:spPr>
              <a:xfrm flipV="1">
                <a:off x="3317968" y="1356065"/>
                <a:ext cx="773469" cy="115356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直接连接符 14"/>
              <p:cNvCxnSpPr>
                <a:stCxn id="70" idx="3"/>
                <a:endCxn id="63" idx="0"/>
              </p:cNvCxnSpPr>
              <p:nvPr/>
            </p:nvCxnSpPr>
            <p:spPr>
              <a:xfrm flipH="1">
                <a:off x="5105248" y="5899217"/>
                <a:ext cx="416814" cy="44150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直接连接符 15"/>
              <p:cNvCxnSpPr>
                <a:stCxn id="53" idx="6"/>
              </p:cNvCxnSpPr>
              <p:nvPr/>
            </p:nvCxnSpPr>
            <p:spPr>
              <a:xfrm flipV="1">
                <a:off x="2705528" y="2545627"/>
                <a:ext cx="576440" cy="199114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直接连接符 16"/>
              <p:cNvCxnSpPr>
                <a:stCxn id="65" idx="6"/>
                <a:endCxn id="64" idx="2"/>
              </p:cNvCxnSpPr>
              <p:nvPr/>
            </p:nvCxnSpPr>
            <p:spPr>
              <a:xfrm>
                <a:off x="3353968" y="2545627"/>
                <a:ext cx="1286785" cy="300050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直接连接符 17"/>
              <p:cNvCxnSpPr>
                <a:stCxn id="64" idx="0"/>
                <a:endCxn id="67" idx="4"/>
              </p:cNvCxnSpPr>
              <p:nvPr/>
            </p:nvCxnSpPr>
            <p:spPr>
              <a:xfrm flipV="1">
                <a:off x="4676753" y="1769223"/>
                <a:ext cx="942765" cy="1040454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直接连接符 18"/>
              <p:cNvCxnSpPr>
                <a:stCxn id="56" idx="7"/>
                <a:endCxn id="65" idx="3"/>
              </p:cNvCxnSpPr>
              <p:nvPr/>
            </p:nvCxnSpPr>
            <p:spPr>
              <a:xfrm flipV="1">
                <a:off x="2494504" y="2571083"/>
                <a:ext cx="798008" cy="113989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直接连接符 19"/>
              <p:cNvCxnSpPr>
                <a:stCxn id="65" idx="5"/>
                <a:endCxn id="69" idx="1"/>
              </p:cNvCxnSpPr>
              <p:nvPr/>
            </p:nvCxnSpPr>
            <p:spPr>
              <a:xfrm>
                <a:off x="3343424" y="2571083"/>
                <a:ext cx="899970" cy="1085474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直接连接符 20"/>
              <p:cNvCxnSpPr>
                <a:stCxn id="67" idx="7"/>
                <a:endCxn id="50" idx="3"/>
              </p:cNvCxnSpPr>
              <p:nvPr/>
            </p:nvCxnSpPr>
            <p:spPr>
              <a:xfrm flipV="1">
                <a:off x="5644974" y="1345025"/>
                <a:ext cx="455898" cy="36274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直接连接符 21"/>
              <p:cNvCxnSpPr>
                <a:stCxn id="67" idx="6"/>
                <a:endCxn id="51" idx="2"/>
              </p:cNvCxnSpPr>
              <p:nvPr/>
            </p:nvCxnSpPr>
            <p:spPr>
              <a:xfrm>
                <a:off x="5655518" y="1733223"/>
                <a:ext cx="1259969" cy="156674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直接连接符 22"/>
              <p:cNvCxnSpPr>
                <a:stCxn id="65" idx="7"/>
                <a:endCxn id="67" idx="3"/>
              </p:cNvCxnSpPr>
              <p:nvPr/>
            </p:nvCxnSpPr>
            <p:spPr>
              <a:xfrm flipV="1">
                <a:off x="3343424" y="1758679"/>
                <a:ext cx="2250638" cy="76149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直接连接符 23"/>
              <p:cNvCxnSpPr>
                <a:stCxn id="67" idx="5"/>
                <a:endCxn id="66" idx="1"/>
              </p:cNvCxnSpPr>
              <p:nvPr/>
            </p:nvCxnSpPr>
            <p:spPr>
              <a:xfrm>
                <a:off x="5644974" y="1758679"/>
                <a:ext cx="625293" cy="97649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直接连接符 24"/>
              <p:cNvCxnSpPr>
                <a:stCxn id="64" idx="6"/>
                <a:endCxn id="66" idx="2"/>
              </p:cNvCxnSpPr>
              <p:nvPr/>
            </p:nvCxnSpPr>
            <p:spPr>
              <a:xfrm flipV="1">
                <a:off x="4712753" y="2760627"/>
                <a:ext cx="1546970" cy="85050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直接连接符 25"/>
              <p:cNvCxnSpPr>
                <a:stCxn id="66" idx="3"/>
                <a:endCxn id="70" idx="0"/>
              </p:cNvCxnSpPr>
              <p:nvPr/>
            </p:nvCxnSpPr>
            <p:spPr>
              <a:xfrm flipH="1">
                <a:off x="5547518" y="2786083"/>
                <a:ext cx="722749" cy="305167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直接连接符 26"/>
              <p:cNvCxnSpPr>
                <a:stCxn id="66" idx="0"/>
                <a:endCxn id="51" idx="3"/>
              </p:cNvCxnSpPr>
              <p:nvPr/>
            </p:nvCxnSpPr>
            <p:spPr>
              <a:xfrm flipV="1">
                <a:off x="6295723" y="1915353"/>
                <a:ext cx="630308" cy="809274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直接连接符 27"/>
              <p:cNvCxnSpPr>
                <a:stCxn id="66" idx="5"/>
                <a:endCxn id="71" idx="1"/>
              </p:cNvCxnSpPr>
              <p:nvPr/>
            </p:nvCxnSpPr>
            <p:spPr>
              <a:xfrm>
                <a:off x="6321179" y="2786083"/>
                <a:ext cx="698920" cy="841629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直接连接符 28"/>
              <p:cNvCxnSpPr>
                <a:stCxn id="71" idx="0"/>
                <a:endCxn id="51" idx="4"/>
              </p:cNvCxnSpPr>
              <p:nvPr/>
            </p:nvCxnSpPr>
            <p:spPr>
              <a:xfrm flipH="1" flipV="1">
                <a:off x="6951487" y="1925897"/>
                <a:ext cx="94068" cy="1691271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直接连接符 29"/>
              <p:cNvCxnSpPr>
                <a:stCxn id="71" idx="7"/>
                <a:endCxn id="54" idx="3"/>
              </p:cNvCxnSpPr>
              <p:nvPr/>
            </p:nvCxnSpPr>
            <p:spPr>
              <a:xfrm flipV="1">
                <a:off x="7071011" y="2770197"/>
                <a:ext cx="436307" cy="857515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直接连接符 30"/>
              <p:cNvCxnSpPr>
                <a:stCxn id="58" idx="1"/>
                <a:endCxn id="71" idx="5"/>
              </p:cNvCxnSpPr>
              <p:nvPr/>
            </p:nvCxnSpPr>
            <p:spPr>
              <a:xfrm flipH="1" flipV="1">
                <a:off x="7071011" y="3678624"/>
                <a:ext cx="413447" cy="1074055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直接连接符 31"/>
              <p:cNvCxnSpPr>
                <a:stCxn id="64" idx="4"/>
                <a:endCxn id="70" idx="1"/>
              </p:cNvCxnSpPr>
              <p:nvPr/>
            </p:nvCxnSpPr>
            <p:spPr>
              <a:xfrm>
                <a:off x="4676753" y="2881677"/>
                <a:ext cx="845309" cy="296662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直接连接符 32"/>
              <p:cNvCxnSpPr>
                <a:stCxn id="69" idx="5"/>
                <a:endCxn id="70" idx="1"/>
              </p:cNvCxnSpPr>
              <p:nvPr/>
            </p:nvCxnSpPr>
            <p:spPr>
              <a:xfrm>
                <a:off x="4294306" y="3707469"/>
                <a:ext cx="1227756" cy="2140836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直接连接符 33"/>
              <p:cNvCxnSpPr>
                <a:stCxn id="56" idx="5"/>
                <a:endCxn id="68" idx="1"/>
              </p:cNvCxnSpPr>
              <p:nvPr/>
            </p:nvCxnSpPr>
            <p:spPr>
              <a:xfrm>
                <a:off x="2494504" y="3761893"/>
                <a:ext cx="1006882" cy="1262023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直接连接符 34"/>
              <p:cNvCxnSpPr>
                <a:stCxn id="68" idx="7"/>
                <a:endCxn id="69" idx="2"/>
              </p:cNvCxnSpPr>
              <p:nvPr/>
            </p:nvCxnSpPr>
            <p:spPr>
              <a:xfrm flipV="1">
                <a:off x="3552298" y="3682013"/>
                <a:ext cx="680552" cy="1341903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直接连接符 35"/>
              <p:cNvCxnSpPr>
                <a:stCxn id="68" idx="0"/>
                <a:endCxn id="65" idx="4"/>
              </p:cNvCxnSpPr>
              <p:nvPr/>
            </p:nvCxnSpPr>
            <p:spPr>
              <a:xfrm flipH="1" flipV="1">
                <a:off x="3317968" y="2581627"/>
                <a:ext cx="208874" cy="2431745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直接连接符 36"/>
              <p:cNvCxnSpPr>
                <a:stCxn id="65" idx="1"/>
                <a:endCxn id="52" idx="4"/>
              </p:cNvCxnSpPr>
              <p:nvPr/>
            </p:nvCxnSpPr>
            <p:spPr>
              <a:xfrm flipH="1" flipV="1">
                <a:off x="3245968" y="1921650"/>
                <a:ext cx="46544" cy="598521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直接连接符 37"/>
              <p:cNvCxnSpPr>
                <a:stCxn id="59" idx="0"/>
                <a:endCxn id="71" idx="4"/>
              </p:cNvCxnSpPr>
              <p:nvPr/>
            </p:nvCxnSpPr>
            <p:spPr>
              <a:xfrm flipV="1">
                <a:off x="6960914" y="3689168"/>
                <a:ext cx="84641" cy="1889941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直接连接符 38"/>
              <p:cNvCxnSpPr>
                <a:stCxn id="71" idx="3"/>
                <a:endCxn id="70" idx="7"/>
              </p:cNvCxnSpPr>
              <p:nvPr/>
            </p:nvCxnSpPr>
            <p:spPr>
              <a:xfrm flipH="1">
                <a:off x="5572974" y="3678624"/>
                <a:ext cx="1447125" cy="2169681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直接连接符 39"/>
              <p:cNvCxnSpPr>
                <a:stCxn id="70" idx="6"/>
                <a:endCxn id="59" idx="2"/>
              </p:cNvCxnSpPr>
              <p:nvPr/>
            </p:nvCxnSpPr>
            <p:spPr>
              <a:xfrm flipV="1">
                <a:off x="5583518" y="5615109"/>
                <a:ext cx="1341396" cy="25865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直接连接符 40"/>
              <p:cNvCxnSpPr>
                <a:stCxn id="70" idx="5"/>
                <a:endCxn id="62" idx="1"/>
              </p:cNvCxnSpPr>
              <p:nvPr/>
            </p:nvCxnSpPr>
            <p:spPr>
              <a:xfrm>
                <a:off x="5572974" y="5899217"/>
                <a:ext cx="527898" cy="244415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直接连接符 41"/>
              <p:cNvCxnSpPr>
                <a:stCxn id="69" idx="0"/>
                <a:endCxn id="64" idx="3"/>
              </p:cNvCxnSpPr>
              <p:nvPr/>
            </p:nvCxnSpPr>
            <p:spPr>
              <a:xfrm flipV="1">
                <a:off x="4268850" y="2871133"/>
                <a:ext cx="382447" cy="774880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直接连接符 42"/>
              <p:cNvCxnSpPr>
                <a:stCxn id="68" idx="6"/>
                <a:endCxn id="70" idx="2"/>
              </p:cNvCxnSpPr>
              <p:nvPr/>
            </p:nvCxnSpPr>
            <p:spPr>
              <a:xfrm>
                <a:off x="3562842" y="5049372"/>
                <a:ext cx="1948676" cy="824389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直接连接符 43"/>
              <p:cNvCxnSpPr>
                <a:stCxn id="57" idx="6"/>
                <a:endCxn id="68" idx="2"/>
              </p:cNvCxnSpPr>
              <p:nvPr/>
            </p:nvCxnSpPr>
            <p:spPr>
              <a:xfrm>
                <a:off x="2723516" y="4804810"/>
                <a:ext cx="767326" cy="24456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直接连接符 44"/>
              <p:cNvCxnSpPr>
                <a:stCxn id="60" idx="7"/>
                <a:endCxn id="68" idx="3"/>
              </p:cNvCxnSpPr>
              <p:nvPr/>
            </p:nvCxnSpPr>
            <p:spPr>
              <a:xfrm flipV="1">
                <a:off x="3271424" y="5074828"/>
                <a:ext cx="229962" cy="51057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直接连接符 45"/>
              <p:cNvCxnSpPr>
                <a:stCxn id="61" idx="0"/>
                <a:endCxn id="68" idx="5"/>
              </p:cNvCxnSpPr>
              <p:nvPr/>
            </p:nvCxnSpPr>
            <p:spPr>
              <a:xfrm flipH="1" flipV="1">
                <a:off x="3552298" y="5074828"/>
                <a:ext cx="539139" cy="1058756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直接连接符 46"/>
              <p:cNvCxnSpPr>
                <a:stCxn id="61" idx="7"/>
                <a:endCxn id="70" idx="2"/>
              </p:cNvCxnSpPr>
              <p:nvPr/>
            </p:nvCxnSpPr>
            <p:spPr>
              <a:xfrm flipV="1">
                <a:off x="4116893" y="5873761"/>
                <a:ext cx="1394625" cy="270367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72" name="组合 71"/>
          <p:cNvGrpSpPr/>
          <p:nvPr/>
        </p:nvGrpSpPr>
        <p:grpSpPr>
          <a:xfrm>
            <a:off x="5781676" y="-1162247"/>
            <a:ext cx="5058729" cy="5053979"/>
            <a:chOff x="1308745" y="2394284"/>
            <a:chExt cx="2326780" cy="2324596"/>
          </a:xfrm>
        </p:grpSpPr>
        <p:pic>
          <p:nvPicPr>
            <p:cNvPr id="73" name="图片 72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00162" y="2491188"/>
              <a:ext cx="2143001" cy="2140801"/>
            </a:xfrm>
            <a:prstGeom prst="rect">
              <a:avLst/>
            </a:prstGeom>
          </p:spPr>
        </p:pic>
        <p:grpSp>
          <p:nvGrpSpPr>
            <p:cNvPr id="74" name="组合 73"/>
            <p:cNvGrpSpPr/>
            <p:nvPr/>
          </p:nvGrpSpPr>
          <p:grpSpPr>
            <a:xfrm>
              <a:off x="1308745" y="2394284"/>
              <a:ext cx="2326780" cy="2324596"/>
              <a:chOff x="2433048" y="1083945"/>
              <a:chExt cx="5333787" cy="5328780"/>
            </a:xfrm>
          </p:grpSpPr>
          <p:sp>
            <p:nvSpPr>
              <p:cNvPr id="75" name="十六角星 74"/>
              <p:cNvSpPr/>
              <p:nvPr/>
            </p:nvSpPr>
            <p:spPr>
              <a:xfrm>
                <a:off x="2470676" y="1127265"/>
                <a:ext cx="5254344" cy="5254344"/>
              </a:xfrm>
              <a:prstGeom prst="star16">
                <a:avLst>
                  <a:gd name="adj" fmla="val 49459"/>
                </a:avLst>
              </a:prstGeom>
              <a:noFill/>
              <a:ln w="6350">
                <a:solidFill>
                  <a:srgbClr val="9D819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grpSp>
            <p:nvGrpSpPr>
              <p:cNvPr id="76" name="组合 75"/>
              <p:cNvGrpSpPr/>
              <p:nvPr/>
            </p:nvGrpSpPr>
            <p:grpSpPr>
              <a:xfrm>
                <a:off x="2433048" y="1083945"/>
                <a:ext cx="5333787" cy="5328780"/>
                <a:chOff x="2280648" y="931545"/>
                <a:chExt cx="5333787" cy="5328780"/>
              </a:xfrm>
            </p:grpSpPr>
            <p:sp>
              <p:nvSpPr>
                <p:cNvPr id="113" name="椭圆 112"/>
                <p:cNvSpPr/>
                <p:nvPr/>
              </p:nvSpPr>
              <p:spPr>
                <a:xfrm>
                  <a:off x="3903037" y="1131665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14" name="椭圆 113"/>
                <p:cNvSpPr/>
                <p:nvPr/>
              </p:nvSpPr>
              <p:spPr>
                <a:xfrm>
                  <a:off x="4916848" y="931545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15" name="椭圆 114"/>
                <p:cNvSpPr/>
                <p:nvPr/>
              </p:nvSpPr>
              <p:spPr>
                <a:xfrm>
                  <a:off x="5937928" y="1131169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16" name="椭圆 115"/>
                <p:cNvSpPr/>
                <p:nvPr/>
              </p:nvSpPr>
              <p:spPr>
                <a:xfrm>
                  <a:off x="6763087" y="170149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17" name="椭圆 116"/>
                <p:cNvSpPr/>
                <p:nvPr/>
              </p:nvSpPr>
              <p:spPr>
                <a:xfrm>
                  <a:off x="3057568" y="1697250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18" name="椭圆 117"/>
                <p:cNvSpPr/>
                <p:nvPr/>
              </p:nvSpPr>
              <p:spPr>
                <a:xfrm>
                  <a:off x="2481128" y="2556341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19" name="椭圆 118"/>
                <p:cNvSpPr/>
                <p:nvPr/>
              </p:nvSpPr>
              <p:spPr>
                <a:xfrm>
                  <a:off x="7344374" y="2556341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20" name="椭圆 119"/>
                <p:cNvSpPr/>
                <p:nvPr/>
              </p:nvSpPr>
              <p:spPr>
                <a:xfrm>
                  <a:off x="7542435" y="354803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21" name="椭圆 120"/>
                <p:cNvSpPr/>
                <p:nvPr/>
              </p:nvSpPr>
              <p:spPr>
                <a:xfrm>
                  <a:off x="2280648" y="354803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22" name="椭圆 121"/>
                <p:cNvSpPr/>
                <p:nvPr/>
              </p:nvSpPr>
              <p:spPr>
                <a:xfrm>
                  <a:off x="2499116" y="4616410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23" name="椭圆 122"/>
                <p:cNvSpPr/>
                <p:nvPr/>
              </p:nvSpPr>
              <p:spPr>
                <a:xfrm>
                  <a:off x="7321514" y="4589735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24" name="椭圆 123"/>
                <p:cNvSpPr/>
                <p:nvPr/>
              </p:nvSpPr>
              <p:spPr>
                <a:xfrm>
                  <a:off x="6772514" y="5426709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25" name="椭圆 124"/>
                <p:cNvSpPr/>
                <p:nvPr/>
              </p:nvSpPr>
              <p:spPr>
                <a:xfrm>
                  <a:off x="3057568" y="5422462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26" name="椭圆 125"/>
                <p:cNvSpPr/>
                <p:nvPr/>
              </p:nvSpPr>
              <p:spPr>
                <a:xfrm>
                  <a:off x="3903037" y="5981184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27" name="椭圆 126"/>
                <p:cNvSpPr/>
                <p:nvPr/>
              </p:nvSpPr>
              <p:spPr>
                <a:xfrm>
                  <a:off x="5937928" y="5980688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28" name="椭圆 127"/>
                <p:cNvSpPr/>
                <p:nvPr/>
              </p:nvSpPr>
              <p:spPr>
                <a:xfrm>
                  <a:off x="4916848" y="6188325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29" name="椭圆 128"/>
                <p:cNvSpPr/>
                <p:nvPr/>
              </p:nvSpPr>
              <p:spPr>
                <a:xfrm>
                  <a:off x="4488353" y="265727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30" name="椭圆 129"/>
                <p:cNvSpPr/>
                <p:nvPr/>
              </p:nvSpPr>
              <p:spPr>
                <a:xfrm>
                  <a:off x="3129568" y="235722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31" name="椭圆 130"/>
                <p:cNvSpPr/>
                <p:nvPr/>
              </p:nvSpPr>
              <p:spPr>
                <a:xfrm>
                  <a:off x="6107323" y="257222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32" name="椭圆 131"/>
                <p:cNvSpPr/>
                <p:nvPr/>
              </p:nvSpPr>
              <p:spPr>
                <a:xfrm>
                  <a:off x="5431118" y="1544823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33" name="椭圆 132"/>
                <p:cNvSpPr/>
                <p:nvPr/>
              </p:nvSpPr>
              <p:spPr>
                <a:xfrm>
                  <a:off x="3338442" y="4860972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34" name="椭圆 133"/>
                <p:cNvSpPr/>
                <p:nvPr/>
              </p:nvSpPr>
              <p:spPr>
                <a:xfrm>
                  <a:off x="4080450" y="3493613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35" name="椭圆 134"/>
                <p:cNvSpPr/>
                <p:nvPr/>
              </p:nvSpPr>
              <p:spPr>
                <a:xfrm>
                  <a:off x="5359118" y="5685361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36" name="椭圆 135"/>
                <p:cNvSpPr/>
                <p:nvPr/>
              </p:nvSpPr>
              <p:spPr>
                <a:xfrm>
                  <a:off x="6857155" y="3464768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</p:grpSp>
          <p:cxnSp>
            <p:nvCxnSpPr>
              <p:cNvPr id="77" name="直接连接符 76"/>
              <p:cNvCxnSpPr>
                <a:stCxn id="114" idx="4"/>
                <a:endCxn id="132" idx="0"/>
              </p:cNvCxnSpPr>
              <p:nvPr/>
            </p:nvCxnSpPr>
            <p:spPr>
              <a:xfrm>
                <a:off x="5105248" y="1155945"/>
                <a:ext cx="514270" cy="54127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直接连接符 77"/>
              <p:cNvCxnSpPr>
                <a:stCxn id="113" idx="5"/>
                <a:endCxn id="132" idx="2"/>
              </p:cNvCxnSpPr>
              <p:nvPr/>
            </p:nvCxnSpPr>
            <p:spPr>
              <a:xfrm>
                <a:off x="4116893" y="1345521"/>
                <a:ext cx="1466625" cy="38770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直接连接符 78"/>
              <p:cNvCxnSpPr>
                <a:stCxn id="130" idx="0"/>
                <a:endCxn id="113" idx="4"/>
              </p:cNvCxnSpPr>
              <p:nvPr/>
            </p:nvCxnSpPr>
            <p:spPr>
              <a:xfrm flipV="1">
                <a:off x="3317968" y="1356065"/>
                <a:ext cx="773469" cy="115356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直接连接符 79"/>
              <p:cNvCxnSpPr>
                <a:stCxn id="135" idx="3"/>
                <a:endCxn id="128" idx="0"/>
              </p:cNvCxnSpPr>
              <p:nvPr/>
            </p:nvCxnSpPr>
            <p:spPr>
              <a:xfrm flipH="1">
                <a:off x="5105248" y="5899217"/>
                <a:ext cx="416814" cy="44150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直接连接符 80"/>
              <p:cNvCxnSpPr>
                <a:stCxn id="118" idx="6"/>
              </p:cNvCxnSpPr>
              <p:nvPr/>
            </p:nvCxnSpPr>
            <p:spPr>
              <a:xfrm flipV="1">
                <a:off x="2705528" y="2545627"/>
                <a:ext cx="576440" cy="199114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直接连接符 81"/>
              <p:cNvCxnSpPr>
                <a:stCxn id="130" idx="6"/>
                <a:endCxn id="129" idx="2"/>
              </p:cNvCxnSpPr>
              <p:nvPr/>
            </p:nvCxnSpPr>
            <p:spPr>
              <a:xfrm>
                <a:off x="3353968" y="2545627"/>
                <a:ext cx="1286785" cy="300050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直接连接符 82"/>
              <p:cNvCxnSpPr>
                <a:stCxn id="129" idx="0"/>
                <a:endCxn id="132" idx="4"/>
              </p:cNvCxnSpPr>
              <p:nvPr/>
            </p:nvCxnSpPr>
            <p:spPr>
              <a:xfrm flipV="1">
                <a:off x="4676753" y="1769223"/>
                <a:ext cx="942765" cy="1040454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直接连接符 83"/>
              <p:cNvCxnSpPr>
                <a:stCxn id="121" idx="7"/>
                <a:endCxn id="130" idx="3"/>
              </p:cNvCxnSpPr>
              <p:nvPr/>
            </p:nvCxnSpPr>
            <p:spPr>
              <a:xfrm flipV="1">
                <a:off x="2494504" y="2571083"/>
                <a:ext cx="798008" cy="113989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直接连接符 84"/>
              <p:cNvCxnSpPr>
                <a:stCxn id="130" idx="5"/>
                <a:endCxn id="134" idx="1"/>
              </p:cNvCxnSpPr>
              <p:nvPr/>
            </p:nvCxnSpPr>
            <p:spPr>
              <a:xfrm>
                <a:off x="3343424" y="2571083"/>
                <a:ext cx="899970" cy="1085474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直接连接符 85"/>
              <p:cNvCxnSpPr>
                <a:stCxn id="132" idx="7"/>
                <a:endCxn id="115" idx="3"/>
              </p:cNvCxnSpPr>
              <p:nvPr/>
            </p:nvCxnSpPr>
            <p:spPr>
              <a:xfrm flipV="1">
                <a:off x="5644974" y="1345025"/>
                <a:ext cx="455898" cy="36274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直接连接符 86"/>
              <p:cNvCxnSpPr>
                <a:stCxn id="132" idx="6"/>
                <a:endCxn id="116" idx="2"/>
              </p:cNvCxnSpPr>
              <p:nvPr/>
            </p:nvCxnSpPr>
            <p:spPr>
              <a:xfrm>
                <a:off x="5655518" y="1733223"/>
                <a:ext cx="1259969" cy="156674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直接连接符 87"/>
              <p:cNvCxnSpPr>
                <a:stCxn id="130" idx="7"/>
                <a:endCxn id="132" idx="3"/>
              </p:cNvCxnSpPr>
              <p:nvPr/>
            </p:nvCxnSpPr>
            <p:spPr>
              <a:xfrm flipV="1">
                <a:off x="3343424" y="1758679"/>
                <a:ext cx="2250638" cy="76149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直接连接符 88"/>
              <p:cNvCxnSpPr>
                <a:stCxn id="132" idx="5"/>
                <a:endCxn id="131" idx="1"/>
              </p:cNvCxnSpPr>
              <p:nvPr/>
            </p:nvCxnSpPr>
            <p:spPr>
              <a:xfrm>
                <a:off x="5644974" y="1758679"/>
                <a:ext cx="625293" cy="97649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直接连接符 89"/>
              <p:cNvCxnSpPr>
                <a:stCxn id="129" idx="6"/>
                <a:endCxn id="131" idx="2"/>
              </p:cNvCxnSpPr>
              <p:nvPr/>
            </p:nvCxnSpPr>
            <p:spPr>
              <a:xfrm flipV="1">
                <a:off x="4712753" y="2760627"/>
                <a:ext cx="1546970" cy="85050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直接连接符 90"/>
              <p:cNvCxnSpPr>
                <a:stCxn id="131" idx="3"/>
                <a:endCxn id="135" idx="0"/>
              </p:cNvCxnSpPr>
              <p:nvPr/>
            </p:nvCxnSpPr>
            <p:spPr>
              <a:xfrm flipH="1">
                <a:off x="5547518" y="2786083"/>
                <a:ext cx="722749" cy="305167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直接连接符 91"/>
              <p:cNvCxnSpPr>
                <a:stCxn id="131" idx="0"/>
                <a:endCxn id="116" idx="3"/>
              </p:cNvCxnSpPr>
              <p:nvPr/>
            </p:nvCxnSpPr>
            <p:spPr>
              <a:xfrm flipV="1">
                <a:off x="6295723" y="1915353"/>
                <a:ext cx="630308" cy="809274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直接连接符 92"/>
              <p:cNvCxnSpPr>
                <a:stCxn id="131" idx="5"/>
                <a:endCxn id="136" idx="1"/>
              </p:cNvCxnSpPr>
              <p:nvPr/>
            </p:nvCxnSpPr>
            <p:spPr>
              <a:xfrm>
                <a:off x="6321179" y="2786083"/>
                <a:ext cx="698920" cy="841629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直接连接符 93"/>
              <p:cNvCxnSpPr>
                <a:stCxn id="136" idx="0"/>
                <a:endCxn id="116" idx="4"/>
              </p:cNvCxnSpPr>
              <p:nvPr/>
            </p:nvCxnSpPr>
            <p:spPr>
              <a:xfrm flipH="1" flipV="1">
                <a:off x="6951487" y="1925897"/>
                <a:ext cx="94068" cy="1691271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直接连接符 94"/>
              <p:cNvCxnSpPr>
                <a:stCxn id="136" idx="7"/>
                <a:endCxn id="119" idx="3"/>
              </p:cNvCxnSpPr>
              <p:nvPr/>
            </p:nvCxnSpPr>
            <p:spPr>
              <a:xfrm flipV="1">
                <a:off x="7071011" y="2770197"/>
                <a:ext cx="436307" cy="857515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直接连接符 95"/>
              <p:cNvCxnSpPr>
                <a:stCxn id="123" idx="1"/>
                <a:endCxn id="136" idx="5"/>
              </p:cNvCxnSpPr>
              <p:nvPr/>
            </p:nvCxnSpPr>
            <p:spPr>
              <a:xfrm flipH="1" flipV="1">
                <a:off x="7071011" y="3678624"/>
                <a:ext cx="413447" cy="1074055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" name="直接连接符 96"/>
              <p:cNvCxnSpPr>
                <a:stCxn id="129" idx="4"/>
                <a:endCxn id="135" idx="1"/>
              </p:cNvCxnSpPr>
              <p:nvPr/>
            </p:nvCxnSpPr>
            <p:spPr>
              <a:xfrm>
                <a:off x="4676753" y="2881677"/>
                <a:ext cx="845309" cy="296662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直接连接符 97"/>
              <p:cNvCxnSpPr>
                <a:stCxn id="134" idx="5"/>
                <a:endCxn id="135" idx="1"/>
              </p:cNvCxnSpPr>
              <p:nvPr/>
            </p:nvCxnSpPr>
            <p:spPr>
              <a:xfrm>
                <a:off x="4294306" y="3707469"/>
                <a:ext cx="1227756" cy="2140836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直接连接符 98"/>
              <p:cNvCxnSpPr>
                <a:stCxn id="121" idx="5"/>
                <a:endCxn id="133" idx="1"/>
              </p:cNvCxnSpPr>
              <p:nvPr/>
            </p:nvCxnSpPr>
            <p:spPr>
              <a:xfrm>
                <a:off x="2494504" y="3761893"/>
                <a:ext cx="1006882" cy="1262023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直接连接符 99"/>
              <p:cNvCxnSpPr>
                <a:stCxn id="133" idx="7"/>
                <a:endCxn id="134" idx="2"/>
              </p:cNvCxnSpPr>
              <p:nvPr/>
            </p:nvCxnSpPr>
            <p:spPr>
              <a:xfrm flipV="1">
                <a:off x="3552298" y="3682013"/>
                <a:ext cx="680552" cy="1341903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直接连接符 100"/>
              <p:cNvCxnSpPr>
                <a:stCxn id="133" idx="0"/>
                <a:endCxn id="130" idx="4"/>
              </p:cNvCxnSpPr>
              <p:nvPr/>
            </p:nvCxnSpPr>
            <p:spPr>
              <a:xfrm flipH="1" flipV="1">
                <a:off x="3317968" y="2581627"/>
                <a:ext cx="208874" cy="2431745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直接连接符 101"/>
              <p:cNvCxnSpPr>
                <a:stCxn id="130" idx="1"/>
                <a:endCxn id="117" idx="4"/>
              </p:cNvCxnSpPr>
              <p:nvPr/>
            </p:nvCxnSpPr>
            <p:spPr>
              <a:xfrm flipH="1" flipV="1">
                <a:off x="3245968" y="1921650"/>
                <a:ext cx="46544" cy="598521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直接连接符 102"/>
              <p:cNvCxnSpPr>
                <a:stCxn id="124" idx="0"/>
                <a:endCxn id="136" idx="4"/>
              </p:cNvCxnSpPr>
              <p:nvPr/>
            </p:nvCxnSpPr>
            <p:spPr>
              <a:xfrm flipV="1">
                <a:off x="6960914" y="3689168"/>
                <a:ext cx="84641" cy="1889941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直接连接符 103"/>
              <p:cNvCxnSpPr>
                <a:stCxn id="136" idx="3"/>
                <a:endCxn id="135" idx="7"/>
              </p:cNvCxnSpPr>
              <p:nvPr/>
            </p:nvCxnSpPr>
            <p:spPr>
              <a:xfrm flipH="1">
                <a:off x="5572974" y="3678624"/>
                <a:ext cx="1447125" cy="2169681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直接连接符 104"/>
              <p:cNvCxnSpPr>
                <a:stCxn id="135" idx="6"/>
                <a:endCxn id="124" idx="2"/>
              </p:cNvCxnSpPr>
              <p:nvPr/>
            </p:nvCxnSpPr>
            <p:spPr>
              <a:xfrm flipV="1">
                <a:off x="5583518" y="5615109"/>
                <a:ext cx="1341396" cy="25865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直接连接符 105"/>
              <p:cNvCxnSpPr>
                <a:stCxn id="135" idx="5"/>
                <a:endCxn id="127" idx="1"/>
              </p:cNvCxnSpPr>
              <p:nvPr/>
            </p:nvCxnSpPr>
            <p:spPr>
              <a:xfrm>
                <a:off x="5572974" y="5899217"/>
                <a:ext cx="527898" cy="244415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直接连接符 106"/>
              <p:cNvCxnSpPr>
                <a:stCxn id="134" idx="0"/>
                <a:endCxn id="129" idx="3"/>
              </p:cNvCxnSpPr>
              <p:nvPr/>
            </p:nvCxnSpPr>
            <p:spPr>
              <a:xfrm flipV="1">
                <a:off x="4268850" y="2871133"/>
                <a:ext cx="382447" cy="774880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直接连接符 107"/>
              <p:cNvCxnSpPr>
                <a:stCxn id="133" idx="6"/>
                <a:endCxn id="135" idx="2"/>
              </p:cNvCxnSpPr>
              <p:nvPr/>
            </p:nvCxnSpPr>
            <p:spPr>
              <a:xfrm>
                <a:off x="3562842" y="5049372"/>
                <a:ext cx="1948676" cy="824389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直接连接符 108"/>
              <p:cNvCxnSpPr>
                <a:stCxn id="122" idx="6"/>
                <a:endCxn id="133" idx="2"/>
              </p:cNvCxnSpPr>
              <p:nvPr/>
            </p:nvCxnSpPr>
            <p:spPr>
              <a:xfrm>
                <a:off x="2723516" y="4804810"/>
                <a:ext cx="767326" cy="24456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直接连接符 109"/>
              <p:cNvCxnSpPr>
                <a:stCxn id="125" idx="7"/>
                <a:endCxn id="133" idx="3"/>
              </p:cNvCxnSpPr>
              <p:nvPr/>
            </p:nvCxnSpPr>
            <p:spPr>
              <a:xfrm flipV="1">
                <a:off x="3271424" y="5074828"/>
                <a:ext cx="229962" cy="51057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直接连接符 110"/>
              <p:cNvCxnSpPr>
                <a:stCxn id="126" idx="0"/>
                <a:endCxn id="133" idx="5"/>
              </p:cNvCxnSpPr>
              <p:nvPr/>
            </p:nvCxnSpPr>
            <p:spPr>
              <a:xfrm flipH="1" flipV="1">
                <a:off x="3552298" y="5074828"/>
                <a:ext cx="539139" cy="1058756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直接连接符 111"/>
              <p:cNvCxnSpPr>
                <a:stCxn id="126" idx="7"/>
                <a:endCxn id="135" idx="2"/>
              </p:cNvCxnSpPr>
              <p:nvPr/>
            </p:nvCxnSpPr>
            <p:spPr>
              <a:xfrm flipV="1">
                <a:off x="4116893" y="5873761"/>
                <a:ext cx="1394625" cy="270367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37" name="文本框 136"/>
          <p:cNvSpPr txBox="1"/>
          <p:nvPr/>
        </p:nvSpPr>
        <p:spPr>
          <a:xfrm>
            <a:off x="3564468" y="311227"/>
            <a:ext cx="1999576" cy="35979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17999" b="1" dirty="0">
                <a:solidFill>
                  <a:srgbClr val="9D8199">
                    <a:alpha val="60000"/>
                  </a:srgbClr>
                </a:solidFill>
                <a:latin typeface="方正兰亭粗黑简体" panose="02000000000000000000" pitchFamily="2" charset="-122"/>
                <a:ea typeface="方正兰亭粗黑简体" panose="02000000000000000000" pitchFamily="2" charset="-122"/>
              </a:rPr>
              <a:t>3</a:t>
            </a:r>
          </a:p>
        </p:txBody>
      </p:sp>
      <p:sp>
        <p:nvSpPr>
          <p:cNvPr id="139" name="文本框 138"/>
          <p:cNvSpPr txBox="1"/>
          <p:nvPr/>
        </p:nvSpPr>
        <p:spPr>
          <a:xfrm>
            <a:off x="3276579" y="3449353"/>
            <a:ext cx="2664192" cy="743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3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结构概述</a:t>
            </a:r>
            <a:endParaRPr lang="en-US" altLang="zh-CN" sz="1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0" name="等腰三角形 139"/>
          <p:cNvSpPr/>
          <p:nvPr/>
        </p:nvSpPr>
        <p:spPr>
          <a:xfrm rot="2134315">
            <a:off x="5998599" y="1614964"/>
            <a:ext cx="289510" cy="249578"/>
          </a:xfrm>
          <a:prstGeom prst="triangle">
            <a:avLst/>
          </a:prstGeom>
          <a:solidFill>
            <a:srgbClr val="663B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013"/>
          </a:p>
        </p:txBody>
      </p:sp>
      <p:sp>
        <p:nvSpPr>
          <p:cNvPr id="141" name="等腰三角形 140"/>
          <p:cNvSpPr/>
          <p:nvPr/>
        </p:nvSpPr>
        <p:spPr>
          <a:xfrm rot="12600000">
            <a:off x="5197448" y="1171321"/>
            <a:ext cx="227683" cy="196278"/>
          </a:xfrm>
          <a:prstGeom prst="triangle">
            <a:avLst/>
          </a:prstGeom>
          <a:solidFill>
            <a:srgbClr val="A252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013"/>
          </a:p>
        </p:txBody>
      </p:sp>
      <p:sp>
        <p:nvSpPr>
          <p:cNvPr id="142" name="等腰三角形 141"/>
          <p:cNvSpPr/>
          <p:nvPr/>
        </p:nvSpPr>
        <p:spPr>
          <a:xfrm rot="460079">
            <a:off x="5608284" y="1067368"/>
            <a:ext cx="384542" cy="331501"/>
          </a:xfrm>
          <a:prstGeom prst="triangle">
            <a:avLst/>
          </a:prstGeom>
          <a:solidFill>
            <a:srgbClr val="8A37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013"/>
          </a:p>
        </p:txBody>
      </p:sp>
    </p:spTree>
    <p:extLst>
      <p:ext uri="{BB962C8B-B14F-4D97-AF65-F5344CB8AC3E}">
        <p14:creationId xmlns:p14="http://schemas.microsoft.com/office/powerpoint/2010/main" val="2652835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Tm="0">
        <p:blinds dir="vert"/>
      </p:transition>
    </mc:Choice>
    <mc:Fallback xmlns="">
      <p:transition spd="slow" advTm="0">
        <p:blinds dir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9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250" fill="hold"/>
                                        <p:tgtEl>
                                          <p:spTgt spid="1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250" fill="hold"/>
                                        <p:tgtEl>
                                          <p:spTgt spid="1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8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Rot by="10800000">
                                      <p:cBhvr>
                                        <p:cTn id="10" dur="1250" fill="hold"/>
                                        <p:tgtEl>
                                          <p:spTgt spid="14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" presetID="2" presetClass="entr" presetSubtype="9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1250" fill="hold"/>
                                        <p:tgtEl>
                                          <p:spTgt spid="1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1250" fill="hold"/>
                                        <p:tgtEl>
                                          <p:spTgt spid="1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8" presetClass="emph" presetSubtype="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Rot by="-10800000">
                                      <p:cBhvr>
                                        <p:cTn id="16" dur="1250" fill="hold"/>
                                        <p:tgtEl>
                                          <p:spTgt spid="14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7" presetID="2" presetClass="entr" presetSubtype="9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250" fill="hold"/>
                                        <p:tgtEl>
                                          <p:spTgt spid="1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250" fill="hold"/>
                                        <p:tgtEl>
                                          <p:spTgt spid="1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8" presetClass="emph" presetSubtype="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Rot by="10800000">
                                      <p:cBhvr>
                                        <p:cTn id="22" dur="1250" fill="hold"/>
                                        <p:tgtEl>
                                          <p:spTgt spid="14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3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3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3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8" presetClass="emph" presetSubtype="0" repeatCount="2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29" dur="3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3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3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30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8" presetClass="emph" presetSubtype="0" repeatCount="2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36" dur="3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7" presetID="2" presetClass="entr" presetSubtype="4" fill="hold" grpId="0" nodeType="withEffect">
                                  <p:stCondLst>
                                    <p:cond delay="35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1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1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47" presetClass="entr" presetSubtype="0" fill="hold" grpId="0" nodeType="withEffect">
                                  <p:stCondLst>
                                    <p:cond delay="375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3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7" grpId="0"/>
      <p:bldP spid="139" grpId="0"/>
      <p:bldP spid="140" grpId="0" animBg="1"/>
      <p:bldP spid="140" grpId="1" animBg="1"/>
      <p:bldP spid="141" grpId="0" animBg="1"/>
      <p:bldP spid="141" grpId="1" animBg="1"/>
      <p:bldP spid="142" grpId="0" animBg="1"/>
      <p:bldP spid="142" grpId="1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合 3"/>
          <p:cNvGrpSpPr/>
          <p:nvPr/>
        </p:nvGrpSpPr>
        <p:grpSpPr>
          <a:xfrm>
            <a:off x="183398" y="425317"/>
            <a:ext cx="846443" cy="659285"/>
            <a:chOff x="5896029" y="567090"/>
            <a:chExt cx="2542304" cy="1980172"/>
          </a:xfrm>
        </p:grpSpPr>
        <p:grpSp>
          <p:nvGrpSpPr>
            <p:cNvPr id="5" name="组合 4"/>
            <p:cNvGrpSpPr/>
            <p:nvPr/>
          </p:nvGrpSpPr>
          <p:grpSpPr>
            <a:xfrm>
              <a:off x="6157182" y="567090"/>
              <a:ext cx="1982032" cy="1980172"/>
              <a:chOff x="6309221" y="788029"/>
              <a:chExt cx="2825105" cy="2822453"/>
            </a:xfrm>
          </p:grpSpPr>
          <p:sp>
            <p:nvSpPr>
              <p:cNvPr id="8" name="椭圆 7"/>
              <p:cNvSpPr/>
              <p:nvPr/>
            </p:nvSpPr>
            <p:spPr>
              <a:xfrm>
                <a:off x="6461555" y="939037"/>
                <a:ext cx="2520437" cy="2520437"/>
              </a:xfrm>
              <a:prstGeom prst="ellipse">
                <a:avLst/>
              </a:prstGeom>
              <a:solidFill>
                <a:srgbClr val="2921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grpSp>
            <p:nvGrpSpPr>
              <p:cNvPr id="9" name="组合 8"/>
              <p:cNvGrpSpPr/>
              <p:nvPr/>
            </p:nvGrpSpPr>
            <p:grpSpPr>
              <a:xfrm>
                <a:off x="6309221" y="788029"/>
                <a:ext cx="2825105" cy="2822453"/>
                <a:chOff x="2433048" y="1083945"/>
                <a:chExt cx="5333787" cy="5328780"/>
              </a:xfrm>
            </p:grpSpPr>
            <p:sp>
              <p:nvSpPr>
                <p:cNvPr id="10" name="十六角星 9"/>
                <p:cNvSpPr/>
                <p:nvPr/>
              </p:nvSpPr>
              <p:spPr>
                <a:xfrm>
                  <a:off x="2470676" y="1127265"/>
                  <a:ext cx="5254344" cy="5254344"/>
                </a:xfrm>
                <a:prstGeom prst="star16">
                  <a:avLst>
                    <a:gd name="adj" fmla="val 49459"/>
                  </a:avLst>
                </a:prstGeom>
                <a:noFill/>
                <a:ln w="6350">
                  <a:solidFill>
                    <a:srgbClr val="9D819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grpSp>
              <p:nvGrpSpPr>
                <p:cNvPr id="11" name="组合 10"/>
                <p:cNvGrpSpPr/>
                <p:nvPr/>
              </p:nvGrpSpPr>
              <p:grpSpPr>
                <a:xfrm>
                  <a:off x="2433048" y="1083945"/>
                  <a:ext cx="5333787" cy="5328780"/>
                  <a:chOff x="2280648" y="931545"/>
                  <a:chExt cx="5333787" cy="5328780"/>
                </a:xfrm>
              </p:grpSpPr>
              <p:sp>
                <p:nvSpPr>
                  <p:cNvPr id="48" name="椭圆 47"/>
                  <p:cNvSpPr/>
                  <p:nvPr/>
                </p:nvSpPr>
                <p:spPr>
                  <a:xfrm>
                    <a:off x="3903037" y="113166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49" name="椭圆 48"/>
                  <p:cNvSpPr/>
                  <p:nvPr/>
                </p:nvSpPr>
                <p:spPr>
                  <a:xfrm>
                    <a:off x="4916848" y="93154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0" name="椭圆 49"/>
                  <p:cNvSpPr/>
                  <p:nvPr/>
                </p:nvSpPr>
                <p:spPr>
                  <a:xfrm>
                    <a:off x="5937928" y="113116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1" name="椭圆 50"/>
                  <p:cNvSpPr/>
                  <p:nvPr/>
                </p:nvSpPr>
                <p:spPr>
                  <a:xfrm>
                    <a:off x="6763087" y="170149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2" name="椭圆 51"/>
                  <p:cNvSpPr/>
                  <p:nvPr/>
                </p:nvSpPr>
                <p:spPr>
                  <a:xfrm>
                    <a:off x="3057568" y="169725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3" name="椭圆 52"/>
                  <p:cNvSpPr/>
                  <p:nvPr/>
                </p:nvSpPr>
                <p:spPr>
                  <a:xfrm>
                    <a:off x="2481128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4" name="椭圆 53"/>
                  <p:cNvSpPr/>
                  <p:nvPr/>
                </p:nvSpPr>
                <p:spPr>
                  <a:xfrm>
                    <a:off x="7344374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5" name="椭圆 54"/>
                  <p:cNvSpPr/>
                  <p:nvPr/>
                </p:nvSpPr>
                <p:spPr>
                  <a:xfrm>
                    <a:off x="7542435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6" name="椭圆 55"/>
                  <p:cNvSpPr/>
                  <p:nvPr/>
                </p:nvSpPr>
                <p:spPr>
                  <a:xfrm>
                    <a:off x="2280648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7" name="椭圆 56"/>
                  <p:cNvSpPr/>
                  <p:nvPr/>
                </p:nvSpPr>
                <p:spPr>
                  <a:xfrm>
                    <a:off x="2499116" y="461641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8" name="椭圆 57"/>
                  <p:cNvSpPr/>
                  <p:nvPr/>
                </p:nvSpPr>
                <p:spPr>
                  <a:xfrm>
                    <a:off x="7321514" y="458973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9" name="椭圆 58"/>
                  <p:cNvSpPr/>
                  <p:nvPr/>
                </p:nvSpPr>
                <p:spPr>
                  <a:xfrm>
                    <a:off x="6772514" y="542670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0" name="椭圆 59"/>
                  <p:cNvSpPr/>
                  <p:nvPr/>
                </p:nvSpPr>
                <p:spPr>
                  <a:xfrm>
                    <a:off x="3057568" y="542246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1" name="椭圆 60"/>
                  <p:cNvSpPr/>
                  <p:nvPr/>
                </p:nvSpPr>
                <p:spPr>
                  <a:xfrm>
                    <a:off x="3903037" y="5981184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2" name="椭圆 61"/>
                  <p:cNvSpPr/>
                  <p:nvPr/>
                </p:nvSpPr>
                <p:spPr>
                  <a:xfrm>
                    <a:off x="5937928" y="598068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3" name="椭圆 62"/>
                  <p:cNvSpPr/>
                  <p:nvPr/>
                </p:nvSpPr>
                <p:spPr>
                  <a:xfrm>
                    <a:off x="4916848" y="618832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4" name="椭圆 63"/>
                  <p:cNvSpPr/>
                  <p:nvPr/>
                </p:nvSpPr>
                <p:spPr>
                  <a:xfrm>
                    <a:off x="4488353" y="265727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5" name="椭圆 64"/>
                  <p:cNvSpPr/>
                  <p:nvPr/>
                </p:nvSpPr>
                <p:spPr>
                  <a:xfrm>
                    <a:off x="3129568" y="2357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6" name="椭圆 65"/>
                  <p:cNvSpPr/>
                  <p:nvPr/>
                </p:nvSpPr>
                <p:spPr>
                  <a:xfrm>
                    <a:off x="6107323" y="2572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7" name="椭圆 66"/>
                  <p:cNvSpPr/>
                  <p:nvPr/>
                </p:nvSpPr>
                <p:spPr>
                  <a:xfrm>
                    <a:off x="5431118" y="154482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8" name="椭圆 67"/>
                  <p:cNvSpPr/>
                  <p:nvPr/>
                </p:nvSpPr>
                <p:spPr>
                  <a:xfrm>
                    <a:off x="3338442" y="486097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9" name="椭圆 68"/>
                  <p:cNvSpPr/>
                  <p:nvPr/>
                </p:nvSpPr>
                <p:spPr>
                  <a:xfrm>
                    <a:off x="4080450" y="349361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70" name="椭圆 69"/>
                  <p:cNvSpPr/>
                  <p:nvPr/>
                </p:nvSpPr>
                <p:spPr>
                  <a:xfrm>
                    <a:off x="5359118" y="568536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71" name="椭圆 70"/>
                  <p:cNvSpPr/>
                  <p:nvPr/>
                </p:nvSpPr>
                <p:spPr>
                  <a:xfrm>
                    <a:off x="6857155" y="346476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</p:grpSp>
            <p:cxnSp>
              <p:nvCxnSpPr>
                <p:cNvPr id="12" name="直接连接符 11"/>
                <p:cNvCxnSpPr>
                  <a:stCxn id="49" idx="4"/>
                  <a:endCxn id="67" idx="0"/>
                </p:cNvCxnSpPr>
                <p:nvPr/>
              </p:nvCxnSpPr>
              <p:spPr>
                <a:xfrm>
                  <a:off x="5105248" y="1155945"/>
                  <a:ext cx="514270" cy="5412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" name="直接连接符 12"/>
                <p:cNvCxnSpPr>
                  <a:stCxn id="48" idx="5"/>
                  <a:endCxn id="67" idx="2"/>
                </p:cNvCxnSpPr>
                <p:nvPr/>
              </p:nvCxnSpPr>
              <p:spPr>
                <a:xfrm>
                  <a:off x="4116893" y="1345521"/>
                  <a:ext cx="1466625" cy="38770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" name="直接连接符 13"/>
                <p:cNvCxnSpPr>
                  <a:stCxn id="65" idx="0"/>
                  <a:endCxn id="48" idx="4"/>
                </p:cNvCxnSpPr>
                <p:nvPr/>
              </p:nvCxnSpPr>
              <p:spPr>
                <a:xfrm flipV="1">
                  <a:off x="3317968" y="1356065"/>
                  <a:ext cx="773469" cy="1153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" name="直接连接符 14"/>
                <p:cNvCxnSpPr>
                  <a:stCxn id="70" idx="3"/>
                  <a:endCxn id="63" idx="0"/>
                </p:cNvCxnSpPr>
                <p:nvPr/>
              </p:nvCxnSpPr>
              <p:spPr>
                <a:xfrm flipH="1">
                  <a:off x="5105248" y="5899217"/>
                  <a:ext cx="416814" cy="44150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" name="直接连接符 15"/>
                <p:cNvCxnSpPr>
                  <a:stCxn id="53" idx="6"/>
                </p:cNvCxnSpPr>
                <p:nvPr/>
              </p:nvCxnSpPr>
              <p:spPr>
                <a:xfrm flipV="1">
                  <a:off x="2705528" y="2545627"/>
                  <a:ext cx="576440" cy="19911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" name="直接连接符 16"/>
                <p:cNvCxnSpPr>
                  <a:stCxn id="65" idx="6"/>
                  <a:endCxn id="64" idx="2"/>
                </p:cNvCxnSpPr>
                <p:nvPr/>
              </p:nvCxnSpPr>
              <p:spPr>
                <a:xfrm>
                  <a:off x="3353968" y="2545627"/>
                  <a:ext cx="1286785" cy="300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" name="直接连接符 17"/>
                <p:cNvCxnSpPr>
                  <a:stCxn id="64" idx="0"/>
                  <a:endCxn id="67" idx="4"/>
                </p:cNvCxnSpPr>
                <p:nvPr/>
              </p:nvCxnSpPr>
              <p:spPr>
                <a:xfrm flipV="1">
                  <a:off x="4676753" y="1769223"/>
                  <a:ext cx="942765" cy="104045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" name="直接连接符 18"/>
                <p:cNvCxnSpPr>
                  <a:stCxn id="56" idx="7"/>
                  <a:endCxn id="65" idx="3"/>
                </p:cNvCxnSpPr>
                <p:nvPr/>
              </p:nvCxnSpPr>
              <p:spPr>
                <a:xfrm flipV="1">
                  <a:off x="2494504" y="2571083"/>
                  <a:ext cx="798008" cy="113989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" name="直接连接符 19"/>
                <p:cNvCxnSpPr>
                  <a:stCxn id="65" idx="5"/>
                  <a:endCxn id="69" idx="1"/>
                </p:cNvCxnSpPr>
                <p:nvPr/>
              </p:nvCxnSpPr>
              <p:spPr>
                <a:xfrm>
                  <a:off x="3343424" y="2571083"/>
                  <a:ext cx="899970" cy="10854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" name="直接连接符 20"/>
                <p:cNvCxnSpPr>
                  <a:stCxn id="67" idx="7"/>
                  <a:endCxn id="50" idx="3"/>
                </p:cNvCxnSpPr>
                <p:nvPr/>
              </p:nvCxnSpPr>
              <p:spPr>
                <a:xfrm flipV="1">
                  <a:off x="5644974" y="1345025"/>
                  <a:ext cx="455898" cy="36274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" name="直接连接符 21"/>
                <p:cNvCxnSpPr>
                  <a:stCxn id="67" idx="6"/>
                  <a:endCxn id="51" idx="2"/>
                </p:cNvCxnSpPr>
                <p:nvPr/>
              </p:nvCxnSpPr>
              <p:spPr>
                <a:xfrm>
                  <a:off x="5655518" y="1733223"/>
                  <a:ext cx="1259969" cy="1566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" name="直接连接符 22"/>
                <p:cNvCxnSpPr>
                  <a:stCxn id="65" idx="7"/>
                  <a:endCxn id="67" idx="3"/>
                </p:cNvCxnSpPr>
                <p:nvPr/>
              </p:nvCxnSpPr>
              <p:spPr>
                <a:xfrm flipV="1">
                  <a:off x="3343424" y="1758679"/>
                  <a:ext cx="2250638" cy="761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" name="直接连接符 23"/>
                <p:cNvCxnSpPr>
                  <a:stCxn id="67" idx="5"/>
                  <a:endCxn id="66" idx="1"/>
                </p:cNvCxnSpPr>
                <p:nvPr/>
              </p:nvCxnSpPr>
              <p:spPr>
                <a:xfrm>
                  <a:off x="5644974" y="1758679"/>
                  <a:ext cx="625293" cy="976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" name="直接连接符 24"/>
                <p:cNvCxnSpPr>
                  <a:stCxn id="64" idx="6"/>
                  <a:endCxn id="66" idx="2"/>
                </p:cNvCxnSpPr>
                <p:nvPr/>
              </p:nvCxnSpPr>
              <p:spPr>
                <a:xfrm flipV="1">
                  <a:off x="4712753" y="2760627"/>
                  <a:ext cx="1546970" cy="85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" name="直接连接符 25"/>
                <p:cNvCxnSpPr>
                  <a:stCxn id="66" idx="3"/>
                  <a:endCxn id="70" idx="0"/>
                </p:cNvCxnSpPr>
                <p:nvPr/>
              </p:nvCxnSpPr>
              <p:spPr>
                <a:xfrm flipH="1">
                  <a:off x="5547518" y="2786083"/>
                  <a:ext cx="722749" cy="30516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" name="直接连接符 26"/>
                <p:cNvCxnSpPr>
                  <a:stCxn id="66" idx="0"/>
                  <a:endCxn id="51" idx="3"/>
                </p:cNvCxnSpPr>
                <p:nvPr/>
              </p:nvCxnSpPr>
              <p:spPr>
                <a:xfrm flipV="1">
                  <a:off x="6295723" y="1915353"/>
                  <a:ext cx="630308" cy="8092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" name="直接连接符 27"/>
                <p:cNvCxnSpPr>
                  <a:stCxn id="66" idx="5"/>
                  <a:endCxn id="71" idx="1"/>
                </p:cNvCxnSpPr>
                <p:nvPr/>
              </p:nvCxnSpPr>
              <p:spPr>
                <a:xfrm>
                  <a:off x="6321179" y="2786083"/>
                  <a:ext cx="698920" cy="84162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" name="直接连接符 28"/>
                <p:cNvCxnSpPr>
                  <a:stCxn id="71" idx="0"/>
                  <a:endCxn id="51" idx="4"/>
                </p:cNvCxnSpPr>
                <p:nvPr/>
              </p:nvCxnSpPr>
              <p:spPr>
                <a:xfrm flipH="1" flipV="1">
                  <a:off x="6951487" y="1925897"/>
                  <a:ext cx="94068" cy="169127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0" name="直接连接符 29"/>
                <p:cNvCxnSpPr>
                  <a:stCxn id="71" idx="7"/>
                  <a:endCxn id="54" idx="3"/>
                </p:cNvCxnSpPr>
                <p:nvPr/>
              </p:nvCxnSpPr>
              <p:spPr>
                <a:xfrm flipV="1">
                  <a:off x="7071011" y="2770197"/>
                  <a:ext cx="436307" cy="8575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1" name="直接连接符 30"/>
                <p:cNvCxnSpPr>
                  <a:stCxn id="58" idx="1"/>
                  <a:endCxn id="71" idx="5"/>
                </p:cNvCxnSpPr>
                <p:nvPr/>
              </p:nvCxnSpPr>
              <p:spPr>
                <a:xfrm flipH="1" flipV="1">
                  <a:off x="7071011" y="3678624"/>
                  <a:ext cx="413447" cy="107405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" name="直接连接符 31"/>
                <p:cNvCxnSpPr>
                  <a:stCxn id="64" idx="4"/>
                  <a:endCxn id="70" idx="1"/>
                </p:cNvCxnSpPr>
                <p:nvPr/>
              </p:nvCxnSpPr>
              <p:spPr>
                <a:xfrm>
                  <a:off x="4676753" y="2881677"/>
                  <a:ext cx="845309" cy="296662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" name="直接连接符 32"/>
                <p:cNvCxnSpPr>
                  <a:stCxn id="69" idx="5"/>
                  <a:endCxn id="70" idx="1"/>
                </p:cNvCxnSpPr>
                <p:nvPr/>
              </p:nvCxnSpPr>
              <p:spPr>
                <a:xfrm>
                  <a:off x="4294306" y="3707469"/>
                  <a:ext cx="1227756" cy="214083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" name="直接连接符 33"/>
                <p:cNvCxnSpPr>
                  <a:stCxn id="56" idx="5"/>
                  <a:endCxn id="68" idx="1"/>
                </p:cNvCxnSpPr>
                <p:nvPr/>
              </p:nvCxnSpPr>
              <p:spPr>
                <a:xfrm>
                  <a:off x="2494504" y="3761893"/>
                  <a:ext cx="1006882" cy="126202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5" name="直接连接符 34"/>
                <p:cNvCxnSpPr>
                  <a:stCxn id="68" idx="7"/>
                  <a:endCxn id="69" idx="2"/>
                </p:cNvCxnSpPr>
                <p:nvPr/>
              </p:nvCxnSpPr>
              <p:spPr>
                <a:xfrm flipV="1">
                  <a:off x="3552298" y="3682013"/>
                  <a:ext cx="680552" cy="134190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6" name="直接连接符 35"/>
                <p:cNvCxnSpPr>
                  <a:stCxn id="68" idx="0"/>
                  <a:endCxn id="65" idx="4"/>
                </p:cNvCxnSpPr>
                <p:nvPr/>
              </p:nvCxnSpPr>
              <p:spPr>
                <a:xfrm flipH="1" flipV="1">
                  <a:off x="3317968" y="2581627"/>
                  <a:ext cx="208874" cy="243174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" name="直接连接符 36"/>
                <p:cNvCxnSpPr>
                  <a:stCxn id="65" idx="1"/>
                  <a:endCxn id="52" idx="4"/>
                </p:cNvCxnSpPr>
                <p:nvPr/>
              </p:nvCxnSpPr>
              <p:spPr>
                <a:xfrm flipH="1" flipV="1">
                  <a:off x="3245968" y="1921650"/>
                  <a:ext cx="46544" cy="59852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" name="直接连接符 37"/>
                <p:cNvCxnSpPr>
                  <a:stCxn id="59" idx="0"/>
                  <a:endCxn id="71" idx="4"/>
                </p:cNvCxnSpPr>
                <p:nvPr/>
              </p:nvCxnSpPr>
              <p:spPr>
                <a:xfrm flipV="1">
                  <a:off x="6960914" y="3689168"/>
                  <a:ext cx="84641" cy="188994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9" name="直接连接符 38"/>
                <p:cNvCxnSpPr>
                  <a:stCxn id="71" idx="3"/>
                  <a:endCxn id="70" idx="7"/>
                </p:cNvCxnSpPr>
                <p:nvPr/>
              </p:nvCxnSpPr>
              <p:spPr>
                <a:xfrm flipH="1">
                  <a:off x="5572974" y="3678624"/>
                  <a:ext cx="1447125" cy="216968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0" name="直接连接符 39"/>
                <p:cNvCxnSpPr>
                  <a:stCxn id="70" idx="6"/>
                  <a:endCxn id="59" idx="2"/>
                </p:cNvCxnSpPr>
                <p:nvPr/>
              </p:nvCxnSpPr>
              <p:spPr>
                <a:xfrm flipV="1">
                  <a:off x="5583518" y="5615109"/>
                  <a:ext cx="1341396" cy="25865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1" name="直接连接符 40"/>
                <p:cNvCxnSpPr>
                  <a:stCxn id="70" idx="5"/>
                  <a:endCxn id="62" idx="1"/>
                </p:cNvCxnSpPr>
                <p:nvPr/>
              </p:nvCxnSpPr>
              <p:spPr>
                <a:xfrm>
                  <a:off x="5572974" y="5899217"/>
                  <a:ext cx="527898" cy="2444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2" name="直接连接符 41"/>
                <p:cNvCxnSpPr>
                  <a:stCxn id="69" idx="0"/>
                  <a:endCxn id="64" idx="3"/>
                </p:cNvCxnSpPr>
                <p:nvPr/>
              </p:nvCxnSpPr>
              <p:spPr>
                <a:xfrm flipV="1">
                  <a:off x="4268850" y="2871133"/>
                  <a:ext cx="382447" cy="77488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3" name="直接连接符 42"/>
                <p:cNvCxnSpPr>
                  <a:stCxn id="68" idx="6"/>
                  <a:endCxn id="70" idx="2"/>
                </p:cNvCxnSpPr>
                <p:nvPr/>
              </p:nvCxnSpPr>
              <p:spPr>
                <a:xfrm>
                  <a:off x="3562842" y="5049372"/>
                  <a:ext cx="1948676" cy="82438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4" name="直接连接符 43"/>
                <p:cNvCxnSpPr>
                  <a:stCxn id="57" idx="6"/>
                  <a:endCxn id="68" idx="2"/>
                </p:cNvCxnSpPr>
                <p:nvPr/>
              </p:nvCxnSpPr>
              <p:spPr>
                <a:xfrm>
                  <a:off x="2723516" y="4804810"/>
                  <a:ext cx="767326" cy="244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5" name="直接连接符 44"/>
                <p:cNvCxnSpPr>
                  <a:stCxn id="60" idx="7"/>
                  <a:endCxn id="68" idx="3"/>
                </p:cNvCxnSpPr>
                <p:nvPr/>
              </p:nvCxnSpPr>
              <p:spPr>
                <a:xfrm flipV="1">
                  <a:off x="3271424" y="5074828"/>
                  <a:ext cx="229962" cy="5105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6" name="直接连接符 45"/>
                <p:cNvCxnSpPr>
                  <a:stCxn id="61" idx="0"/>
                  <a:endCxn id="68" idx="5"/>
                </p:cNvCxnSpPr>
                <p:nvPr/>
              </p:nvCxnSpPr>
              <p:spPr>
                <a:xfrm flipH="1" flipV="1">
                  <a:off x="3552298" y="5074828"/>
                  <a:ext cx="539139" cy="105875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7" name="直接连接符 46"/>
                <p:cNvCxnSpPr>
                  <a:stCxn id="61" idx="7"/>
                  <a:endCxn id="70" idx="2"/>
                </p:cNvCxnSpPr>
                <p:nvPr/>
              </p:nvCxnSpPr>
              <p:spPr>
                <a:xfrm flipV="1">
                  <a:off x="4116893" y="5873761"/>
                  <a:ext cx="1394625" cy="270367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6" name="文本框 5"/>
            <p:cNvSpPr txBox="1"/>
            <p:nvPr/>
          </p:nvSpPr>
          <p:spPr>
            <a:xfrm>
              <a:off x="6610899" y="1009427"/>
              <a:ext cx="1107126" cy="10112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200" b="1" dirty="0">
                  <a:solidFill>
                    <a:schemeClr val="bg1"/>
                  </a:solidFill>
                  <a:latin typeface="方正兰亭粗黑简体" panose="02000000000000000000" pitchFamily="2" charset="-122"/>
                  <a:ea typeface="方正兰亭粗黑简体" panose="02000000000000000000" pitchFamily="2" charset="-122"/>
                </a:rPr>
                <a:t>3</a:t>
              </a:r>
              <a:endParaRPr lang="en-US" altLang="zh-CN" sz="825" b="1" dirty="0">
                <a:solidFill>
                  <a:schemeClr val="bg1"/>
                </a:solidFill>
                <a:latin typeface="方正兰亭粗黑简体" panose="02000000000000000000" pitchFamily="2" charset="-122"/>
                <a:ea typeface="方正兰亭粗黑简体" panose="02000000000000000000" pitchFamily="2" charset="-122"/>
              </a:endParaRPr>
            </a:p>
          </p:txBody>
        </p:sp>
        <p:sp>
          <p:nvSpPr>
            <p:cNvPr id="7" name="弧形 6"/>
            <p:cNvSpPr/>
            <p:nvPr/>
          </p:nvSpPr>
          <p:spPr>
            <a:xfrm rot="20705087">
              <a:off x="5896029" y="1413987"/>
              <a:ext cx="2542304" cy="475742"/>
            </a:xfrm>
            <a:prstGeom prst="arc">
              <a:avLst>
                <a:gd name="adj1" fmla="val 20946925"/>
                <a:gd name="adj2" fmla="val 11464655"/>
              </a:avLst>
            </a:prstGeom>
            <a:ln w="19050">
              <a:solidFill>
                <a:srgbClr val="9D819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</p:grpSp>
      <p:sp>
        <p:nvSpPr>
          <p:cNvPr id="72" name="文本框 71"/>
          <p:cNvSpPr txBox="1"/>
          <p:nvPr/>
        </p:nvSpPr>
        <p:spPr>
          <a:xfrm>
            <a:off x="1041984" y="517240"/>
            <a:ext cx="2104064" cy="4589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结构概述</a:t>
            </a:r>
            <a:endParaRPr lang="en-US" altLang="zh-CN" sz="75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3" name="矩形 72"/>
          <p:cNvSpPr/>
          <p:nvPr/>
        </p:nvSpPr>
        <p:spPr>
          <a:xfrm>
            <a:off x="1219631" y="2747943"/>
            <a:ext cx="5198512" cy="121514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013"/>
          </a:p>
        </p:txBody>
      </p:sp>
      <p:sp>
        <p:nvSpPr>
          <p:cNvPr id="74" name="矩形 12"/>
          <p:cNvSpPr/>
          <p:nvPr/>
        </p:nvSpPr>
        <p:spPr>
          <a:xfrm>
            <a:off x="1219631" y="2950465"/>
            <a:ext cx="5164201" cy="121514"/>
          </a:xfrm>
          <a:custGeom>
            <a:avLst/>
            <a:gdLst/>
            <a:ahLst/>
            <a:cxnLst/>
            <a:rect l="l" t="t" r="r" b="b"/>
            <a:pathLst>
              <a:path w="6885601" h="162018">
                <a:moveTo>
                  <a:pt x="0" y="0"/>
                </a:moveTo>
                <a:lnTo>
                  <a:pt x="6863886" y="0"/>
                </a:lnTo>
                <a:cubicBezTo>
                  <a:pt x="6867441" y="55065"/>
                  <a:pt x="6874351" y="109213"/>
                  <a:pt x="6885601" y="162018"/>
                </a:cubicBezTo>
                <a:lnTo>
                  <a:pt x="0" y="162018"/>
                </a:lnTo>
                <a:close/>
              </a:path>
            </a:pathLst>
          </a:custGeom>
          <a:solidFill>
            <a:srgbClr val="FFFFFF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013"/>
          </a:p>
        </p:txBody>
      </p:sp>
      <p:grpSp>
        <p:nvGrpSpPr>
          <p:cNvPr id="75" name="组合 74"/>
          <p:cNvGrpSpPr/>
          <p:nvPr/>
        </p:nvGrpSpPr>
        <p:grpSpPr>
          <a:xfrm>
            <a:off x="4462026" y="1927336"/>
            <a:ext cx="1991405" cy="1944216"/>
            <a:chOff x="8404007" y="2276872"/>
            <a:chExt cx="2655206" cy="2592288"/>
          </a:xfrm>
        </p:grpSpPr>
        <p:sp>
          <p:nvSpPr>
            <p:cNvPr id="76" name="椭圆 1"/>
            <p:cNvSpPr/>
            <p:nvPr/>
          </p:nvSpPr>
          <p:spPr>
            <a:xfrm>
              <a:off x="8404007" y="2276872"/>
              <a:ext cx="2655206" cy="1242138"/>
            </a:xfrm>
            <a:custGeom>
              <a:avLst/>
              <a:gdLst>
                <a:gd name="connsiteX0" fmla="*/ 1045028 w 2655206"/>
                <a:gd name="connsiteY0" fmla="*/ 1755986 h 2671362"/>
                <a:gd name="connsiteX1" fmla="*/ 2655206 w 2655206"/>
                <a:gd name="connsiteY1" fmla="*/ 1422158 h 2671362"/>
                <a:gd name="connsiteX2" fmla="*/ 1327603 w 2655206"/>
                <a:gd name="connsiteY2" fmla="*/ 2664296 h 2671362"/>
                <a:gd name="connsiteX3" fmla="*/ 1045028 w 2655206"/>
                <a:gd name="connsiteY3" fmla="*/ 1755986 h 2671362"/>
                <a:gd name="connsiteX4" fmla="*/ 1327603 w 2655206"/>
                <a:gd name="connsiteY4" fmla="*/ 0 h 2671362"/>
                <a:gd name="connsiteX5" fmla="*/ 2655206 w 2655206"/>
                <a:gd name="connsiteY5" fmla="*/ 1242138 h 2671362"/>
                <a:gd name="connsiteX6" fmla="*/ 0 w 2655206"/>
                <a:gd name="connsiteY6" fmla="*/ 1242138 h 2671362"/>
                <a:gd name="connsiteX7" fmla="*/ 1327603 w 2655206"/>
                <a:gd name="connsiteY7" fmla="*/ 0 h 2671362"/>
                <a:gd name="connsiteX0" fmla="*/ 1327603 w 2655206"/>
                <a:gd name="connsiteY0" fmla="*/ 2664296 h 2664296"/>
                <a:gd name="connsiteX1" fmla="*/ 2655206 w 2655206"/>
                <a:gd name="connsiteY1" fmla="*/ 1422158 h 2664296"/>
                <a:gd name="connsiteX2" fmla="*/ 1327603 w 2655206"/>
                <a:gd name="connsiteY2" fmla="*/ 2664296 h 2664296"/>
                <a:gd name="connsiteX3" fmla="*/ 1327603 w 2655206"/>
                <a:gd name="connsiteY3" fmla="*/ 0 h 2664296"/>
                <a:gd name="connsiteX4" fmla="*/ 2655206 w 2655206"/>
                <a:gd name="connsiteY4" fmla="*/ 1242138 h 2664296"/>
                <a:gd name="connsiteX5" fmla="*/ 0 w 2655206"/>
                <a:gd name="connsiteY5" fmla="*/ 1242138 h 2664296"/>
                <a:gd name="connsiteX6" fmla="*/ 1327603 w 2655206"/>
                <a:gd name="connsiteY6" fmla="*/ 0 h 2664296"/>
                <a:gd name="connsiteX0" fmla="*/ 1327603 w 2655206"/>
                <a:gd name="connsiteY0" fmla="*/ 0 h 1242138"/>
                <a:gd name="connsiteX1" fmla="*/ 2655206 w 2655206"/>
                <a:gd name="connsiteY1" fmla="*/ 1242138 h 1242138"/>
                <a:gd name="connsiteX2" fmla="*/ 0 w 2655206"/>
                <a:gd name="connsiteY2" fmla="*/ 1242138 h 1242138"/>
                <a:gd name="connsiteX3" fmla="*/ 1327603 w 2655206"/>
                <a:gd name="connsiteY3" fmla="*/ 0 h 124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55206" h="1242138">
                  <a:moveTo>
                    <a:pt x="1327603" y="0"/>
                  </a:moveTo>
                  <a:cubicBezTo>
                    <a:pt x="2033044" y="0"/>
                    <a:pt x="2610414" y="548333"/>
                    <a:pt x="2655206" y="1242138"/>
                  </a:cubicBezTo>
                  <a:lnTo>
                    <a:pt x="0" y="1242138"/>
                  </a:lnTo>
                  <a:cubicBezTo>
                    <a:pt x="44792" y="548333"/>
                    <a:pt x="622162" y="0"/>
                    <a:pt x="1327603" y="0"/>
                  </a:cubicBezTo>
                  <a:close/>
                </a:path>
              </a:pathLst>
            </a:custGeom>
            <a:solidFill>
              <a:schemeClr val="bg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  <p:sp>
          <p:nvSpPr>
            <p:cNvPr id="77" name="椭圆 1"/>
            <p:cNvSpPr/>
            <p:nvPr/>
          </p:nvSpPr>
          <p:spPr>
            <a:xfrm>
              <a:off x="8404007" y="3627022"/>
              <a:ext cx="2655206" cy="1242138"/>
            </a:xfrm>
            <a:custGeom>
              <a:avLst/>
              <a:gdLst>
                <a:gd name="connsiteX0" fmla="*/ 0 w 2655206"/>
                <a:gd name="connsiteY0" fmla="*/ 180020 h 1422158"/>
                <a:gd name="connsiteX1" fmla="*/ 2655206 w 2655206"/>
                <a:gd name="connsiteY1" fmla="*/ 180020 h 1422158"/>
                <a:gd name="connsiteX2" fmla="*/ 1327603 w 2655206"/>
                <a:gd name="connsiteY2" fmla="*/ 1422158 h 1422158"/>
                <a:gd name="connsiteX3" fmla="*/ 0 w 2655206"/>
                <a:gd name="connsiteY3" fmla="*/ 180020 h 1422158"/>
                <a:gd name="connsiteX4" fmla="*/ 0 w 2655206"/>
                <a:gd name="connsiteY4" fmla="*/ 0 h 1422158"/>
                <a:gd name="connsiteX5" fmla="*/ 2655206 w 2655206"/>
                <a:gd name="connsiteY5" fmla="*/ 0 h 1422158"/>
                <a:gd name="connsiteX6" fmla="*/ 0 w 2655206"/>
                <a:gd name="connsiteY6" fmla="*/ 0 h 1422158"/>
                <a:gd name="connsiteX0" fmla="*/ 0 w 2655206"/>
                <a:gd name="connsiteY0" fmla="*/ 0 h 1242138"/>
                <a:gd name="connsiteX1" fmla="*/ 2655206 w 2655206"/>
                <a:gd name="connsiteY1" fmla="*/ 0 h 1242138"/>
                <a:gd name="connsiteX2" fmla="*/ 1327603 w 2655206"/>
                <a:gd name="connsiteY2" fmla="*/ 1242138 h 1242138"/>
                <a:gd name="connsiteX3" fmla="*/ 0 w 2655206"/>
                <a:gd name="connsiteY3" fmla="*/ 0 h 124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55206" h="1242138">
                  <a:moveTo>
                    <a:pt x="0" y="0"/>
                  </a:moveTo>
                  <a:lnTo>
                    <a:pt x="2655206" y="0"/>
                  </a:lnTo>
                  <a:cubicBezTo>
                    <a:pt x="2610414" y="693805"/>
                    <a:pt x="2033044" y="1242138"/>
                    <a:pt x="1327603" y="1242138"/>
                  </a:cubicBezTo>
                  <a:cubicBezTo>
                    <a:pt x="622162" y="1242138"/>
                    <a:pt x="44792" y="693805"/>
                    <a:pt x="0" y="0"/>
                  </a:cubicBezTo>
                  <a:close/>
                </a:path>
              </a:pathLst>
            </a:custGeom>
            <a:solidFill>
              <a:srgbClr val="FFFFFF">
                <a:alpha val="4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  <p:grpSp>
          <p:nvGrpSpPr>
            <p:cNvPr id="78" name="Group 73"/>
            <p:cNvGrpSpPr/>
            <p:nvPr>
              <p:custDataLst>
                <p:tags r:id="rId1"/>
              </p:custDataLst>
            </p:nvPr>
          </p:nvGrpSpPr>
          <p:grpSpPr>
            <a:xfrm>
              <a:off x="9167718" y="2791516"/>
              <a:ext cx="1127785" cy="451534"/>
              <a:chOff x="683122" y="3035184"/>
              <a:chExt cx="1092016" cy="428533"/>
            </a:xfrm>
          </p:grpSpPr>
          <p:pic>
            <p:nvPicPr>
              <p:cNvPr id="82" name="Picture 74"/>
              <p:cNvPicPr>
                <a:picLocks noChangeAspect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7680"/>
              <a:stretch/>
            </p:blipFill>
            <p:spPr>
              <a:xfrm>
                <a:off x="1022176" y="3035184"/>
                <a:ext cx="752962" cy="428533"/>
              </a:xfrm>
              <a:prstGeom prst="rect">
                <a:avLst/>
              </a:prstGeom>
            </p:spPr>
          </p:pic>
          <p:pic>
            <p:nvPicPr>
              <p:cNvPr id="83" name="Picture 75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83122" y="3116651"/>
                <a:ext cx="339653" cy="265594"/>
              </a:xfrm>
              <a:prstGeom prst="rect">
                <a:avLst/>
              </a:prstGeom>
            </p:spPr>
          </p:pic>
        </p:grpSp>
        <p:pic>
          <p:nvPicPr>
            <p:cNvPr id="79" name="Picture 76"/>
            <p:cNvPicPr>
              <a:picLocks noChangeAspect="1"/>
            </p:cNvPicPr>
            <p:nvPr/>
          </p:nvPicPr>
          <p:blipFill>
            <a:blip r:embed="rId5" cstate="print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20632" y="3974008"/>
              <a:ext cx="821956" cy="493175"/>
            </a:xfrm>
            <a:prstGeom prst="rect">
              <a:avLst/>
            </a:prstGeom>
          </p:spPr>
        </p:pic>
      </p:grpSp>
      <p:sp>
        <p:nvSpPr>
          <p:cNvPr id="84" name="Freeform 91"/>
          <p:cNvSpPr>
            <a:spLocks noEditPoints="1"/>
          </p:cNvSpPr>
          <p:nvPr/>
        </p:nvSpPr>
        <p:spPr bwMode="auto">
          <a:xfrm>
            <a:off x="1233566" y="1613817"/>
            <a:ext cx="219881" cy="313519"/>
          </a:xfrm>
          <a:custGeom>
            <a:avLst/>
            <a:gdLst>
              <a:gd name="T0" fmla="*/ 8 w 348"/>
              <a:gd name="T1" fmla="*/ 0 h 414"/>
              <a:gd name="T2" fmla="*/ 0 w 348"/>
              <a:gd name="T3" fmla="*/ 406 h 414"/>
              <a:gd name="T4" fmla="*/ 340 w 348"/>
              <a:gd name="T5" fmla="*/ 414 h 414"/>
              <a:gd name="T6" fmla="*/ 348 w 348"/>
              <a:gd name="T7" fmla="*/ 8 h 414"/>
              <a:gd name="T8" fmla="*/ 333 w 348"/>
              <a:gd name="T9" fmla="*/ 399 h 414"/>
              <a:gd name="T10" fmla="*/ 15 w 348"/>
              <a:gd name="T11" fmla="*/ 15 h 414"/>
              <a:gd name="T12" fmla="*/ 333 w 348"/>
              <a:gd name="T13" fmla="*/ 399 h 414"/>
              <a:gd name="T14" fmla="*/ 33 w 348"/>
              <a:gd name="T15" fmla="*/ 43 h 414"/>
              <a:gd name="T16" fmla="*/ 307 w 348"/>
              <a:gd name="T17" fmla="*/ 36 h 414"/>
              <a:gd name="T18" fmla="*/ 315 w 348"/>
              <a:gd name="T19" fmla="*/ 104 h 414"/>
              <a:gd name="T20" fmla="*/ 41 w 348"/>
              <a:gd name="T21" fmla="*/ 111 h 414"/>
              <a:gd name="T22" fmla="*/ 108 w 348"/>
              <a:gd name="T23" fmla="*/ 141 h 414"/>
              <a:gd name="T24" fmla="*/ 123 w 348"/>
              <a:gd name="T25" fmla="*/ 203 h 414"/>
              <a:gd name="T26" fmla="*/ 53 w 348"/>
              <a:gd name="T27" fmla="*/ 210 h 414"/>
              <a:gd name="T28" fmla="*/ 108 w 348"/>
              <a:gd name="T29" fmla="*/ 195 h 414"/>
              <a:gd name="T30" fmla="*/ 198 w 348"/>
              <a:gd name="T31" fmla="*/ 141 h 414"/>
              <a:gd name="T32" fmla="*/ 212 w 348"/>
              <a:gd name="T33" fmla="*/ 203 h 414"/>
              <a:gd name="T34" fmla="*/ 143 w 348"/>
              <a:gd name="T35" fmla="*/ 210 h 414"/>
              <a:gd name="T36" fmla="*/ 198 w 348"/>
              <a:gd name="T37" fmla="*/ 195 h 414"/>
              <a:gd name="T38" fmla="*/ 287 w 348"/>
              <a:gd name="T39" fmla="*/ 141 h 414"/>
              <a:gd name="T40" fmla="*/ 302 w 348"/>
              <a:gd name="T41" fmla="*/ 203 h 414"/>
              <a:gd name="T42" fmla="*/ 233 w 348"/>
              <a:gd name="T43" fmla="*/ 210 h 414"/>
              <a:gd name="T44" fmla="*/ 287 w 348"/>
              <a:gd name="T45" fmla="*/ 195 h 414"/>
              <a:gd name="T46" fmla="*/ 108 w 348"/>
              <a:gd name="T47" fmla="*/ 314 h 414"/>
              <a:gd name="T48" fmla="*/ 123 w 348"/>
              <a:gd name="T49" fmla="*/ 376 h 414"/>
              <a:gd name="T50" fmla="*/ 53 w 348"/>
              <a:gd name="T51" fmla="*/ 384 h 414"/>
              <a:gd name="T52" fmla="*/ 108 w 348"/>
              <a:gd name="T53" fmla="*/ 369 h 414"/>
              <a:gd name="T54" fmla="*/ 198 w 348"/>
              <a:gd name="T55" fmla="*/ 314 h 414"/>
              <a:gd name="T56" fmla="*/ 212 w 348"/>
              <a:gd name="T57" fmla="*/ 376 h 414"/>
              <a:gd name="T58" fmla="*/ 143 w 348"/>
              <a:gd name="T59" fmla="*/ 384 h 414"/>
              <a:gd name="T60" fmla="*/ 198 w 348"/>
              <a:gd name="T61" fmla="*/ 369 h 414"/>
              <a:gd name="T62" fmla="*/ 287 w 348"/>
              <a:gd name="T63" fmla="*/ 314 h 414"/>
              <a:gd name="T64" fmla="*/ 302 w 348"/>
              <a:gd name="T65" fmla="*/ 376 h 414"/>
              <a:gd name="T66" fmla="*/ 233 w 348"/>
              <a:gd name="T67" fmla="*/ 384 h 414"/>
              <a:gd name="T68" fmla="*/ 287 w 348"/>
              <a:gd name="T69" fmla="*/ 369 h 414"/>
              <a:gd name="T70" fmla="*/ 108 w 348"/>
              <a:gd name="T71" fmla="*/ 227 h 414"/>
              <a:gd name="T72" fmla="*/ 123 w 348"/>
              <a:gd name="T73" fmla="*/ 289 h 414"/>
              <a:gd name="T74" fmla="*/ 53 w 348"/>
              <a:gd name="T75" fmla="*/ 297 h 414"/>
              <a:gd name="T76" fmla="*/ 108 w 348"/>
              <a:gd name="T77" fmla="*/ 282 h 414"/>
              <a:gd name="T78" fmla="*/ 198 w 348"/>
              <a:gd name="T79" fmla="*/ 227 h 414"/>
              <a:gd name="T80" fmla="*/ 212 w 348"/>
              <a:gd name="T81" fmla="*/ 289 h 414"/>
              <a:gd name="T82" fmla="*/ 143 w 348"/>
              <a:gd name="T83" fmla="*/ 297 h 414"/>
              <a:gd name="T84" fmla="*/ 198 w 348"/>
              <a:gd name="T85" fmla="*/ 282 h 414"/>
              <a:gd name="T86" fmla="*/ 287 w 348"/>
              <a:gd name="T87" fmla="*/ 227 h 414"/>
              <a:gd name="T88" fmla="*/ 302 w 348"/>
              <a:gd name="T89" fmla="*/ 289 h 414"/>
              <a:gd name="T90" fmla="*/ 233 w 348"/>
              <a:gd name="T91" fmla="*/ 297 h 414"/>
              <a:gd name="T92" fmla="*/ 287 w 348"/>
              <a:gd name="T93" fmla="*/ 282 h 4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348" h="414">
                <a:moveTo>
                  <a:pt x="340" y="0"/>
                </a:moveTo>
                <a:cubicBezTo>
                  <a:pt x="8" y="0"/>
                  <a:pt x="8" y="0"/>
                  <a:pt x="8" y="0"/>
                </a:cubicBezTo>
                <a:cubicBezTo>
                  <a:pt x="4" y="0"/>
                  <a:pt x="0" y="4"/>
                  <a:pt x="0" y="8"/>
                </a:cubicBezTo>
                <a:cubicBezTo>
                  <a:pt x="0" y="406"/>
                  <a:pt x="0" y="406"/>
                  <a:pt x="0" y="406"/>
                </a:cubicBezTo>
                <a:cubicBezTo>
                  <a:pt x="0" y="410"/>
                  <a:pt x="4" y="414"/>
                  <a:pt x="8" y="414"/>
                </a:cubicBezTo>
                <a:cubicBezTo>
                  <a:pt x="340" y="414"/>
                  <a:pt x="340" y="414"/>
                  <a:pt x="340" y="414"/>
                </a:cubicBezTo>
                <a:cubicBezTo>
                  <a:pt x="344" y="414"/>
                  <a:pt x="348" y="410"/>
                  <a:pt x="348" y="406"/>
                </a:cubicBezTo>
                <a:cubicBezTo>
                  <a:pt x="348" y="8"/>
                  <a:pt x="348" y="8"/>
                  <a:pt x="348" y="8"/>
                </a:cubicBezTo>
                <a:cubicBezTo>
                  <a:pt x="348" y="4"/>
                  <a:pt x="344" y="0"/>
                  <a:pt x="340" y="0"/>
                </a:cubicBezTo>
                <a:close/>
                <a:moveTo>
                  <a:pt x="333" y="399"/>
                </a:moveTo>
                <a:cubicBezTo>
                  <a:pt x="15" y="399"/>
                  <a:pt x="15" y="399"/>
                  <a:pt x="15" y="399"/>
                </a:cubicBezTo>
                <a:cubicBezTo>
                  <a:pt x="15" y="15"/>
                  <a:pt x="15" y="15"/>
                  <a:pt x="15" y="15"/>
                </a:cubicBezTo>
                <a:cubicBezTo>
                  <a:pt x="333" y="15"/>
                  <a:pt x="333" y="15"/>
                  <a:pt x="333" y="15"/>
                </a:cubicBezTo>
                <a:lnTo>
                  <a:pt x="333" y="399"/>
                </a:lnTo>
                <a:close/>
                <a:moveTo>
                  <a:pt x="33" y="104"/>
                </a:moveTo>
                <a:cubicBezTo>
                  <a:pt x="33" y="43"/>
                  <a:pt x="33" y="43"/>
                  <a:pt x="33" y="43"/>
                </a:cubicBezTo>
                <a:cubicBezTo>
                  <a:pt x="33" y="39"/>
                  <a:pt x="37" y="36"/>
                  <a:pt x="41" y="36"/>
                </a:cubicBezTo>
                <a:cubicBezTo>
                  <a:pt x="307" y="36"/>
                  <a:pt x="307" y="36"/>
                  <a:pt x="307" y="36"/>
                </a:cubicBezTo>
                <a:cubicBezTo>
                  <a:pt x="311" y="36"/>
                  <a:pt x="315" y="39"/>
                  <a:pt x="315" y="43"/>
                </a:cubicBezTo>
                <a:cubicBezTo>
                  <a:pt x="315" y="104"/>
                  <a:pt x="315" y="104"/>
                  <a:pt x="315" y="104"/>
                </a:cubicBezTo>
                <a:cubicBezTo>
                  <a:pt x="315" y="108"/>
                  <a:pt x="311" y="111"/>
                  <a:pt x="307" y="111"/>
                </a:cubicBezTo>
                <a:cubicBezTo>
                  <a:pt x="41" y="111"/>
                  <a:pt x="41" y="111"/>
                  <a:pt x="41" y="111"/>
                </a:cubicBezTo>
                <a:cubicBezTo>
                  <a:pt x="37" y="111"/>
                  <a:pt x="33" y="108"/>
                  <a:pt x="33" y="104"/>
                </a:cubicBezTo>
                <a:close/>
                <a:moveTo>
                  <a:pt x="108" y="141"/>
                </a:moveTo>
                <a:cubicBezTo>
                  <a:pt x="123" y="141"/>
                  <a:pt x="123" y="141"/>
                  <a:pt x="123" y="141"/>
                </a:cubicBezTo>
                <a:cubicBezTo>
                  <a:pt x="123" y="203"/>
                  <a:pt x="123" y="203"/>
                  <a:pt x="123" y="203"/>
                </a:cubicBezTo>
                <a:cubicBezTo>
                  <a:pt x="123" y="207"/>
                  <a:pt x="119" y="210"/>
                  <a:pt x="115" y="210"/>
                </a:cubicBezTo>
                <a:cubicBezTo>
                  <a:pt x="53" y="210"/>
                  <a:pt x="53" y="210"/>
                  <a:pt x="53" y="210"/>
                </a:cubicBezTo>
                <a:cubicBezTo>
                  <a:pt x="53" y="195"/>
                  <a:pt x="53" y="195"/>
                  <a:pt x="53" y="195"/>
                </a:cubicBezTo>
                <a:cubicBezTo>
                  <a:pt x="108" y="195"/>
                  <a:pt x="108" y="195"/>
                  <a:pt x="108" y="195"/>
                </a:cubicBezTo>
                <a:lnTo>
                  <a:pt x="108" y="141"/>
                </a:lnTo>
                <a:close/>
                <a:moveTo>
                  <a:pt x="198" y="141"/>
                </a:moveTo>
                <a:cubicBezTo>
                  <a:pt x="212" y="141"/>
                  <a:pt x="212" y="141"/>
                  <a:pt x="212" y="141"/>
                </a:cubicBezTo>
                <a:cubicBezTo>
                  <a:pt x="212" y="203"/>
                  <a:pt x="212" y="203"/>
                  <a:pt x="212" y="203"/>
                </a:cubicBezTo>
                <a:cubicBezTo>
                  <a:pt x="212" y="207"/>
                  <a:pt x="209" y="210"/>
                  <a:pt x="205" y="210"/>
                </a:cubicBezTo>
                <a:cubicBezTo>
                  <a:pt x="143" y="210"/>
                  <a:pt x="143" y="210"/>
                  <a:pt x="143" y="210"/>
                </a:cubicBezTo>
                <a:cubicBezTo>
                  <a:pt x="143" y="195"/>
                  <a:pt x="143" y="195"/>
                  <a:pt x="143" y="195"/>
                </a:cubicBezTo>
                <a:cubicBezTo>
                  <a:pt x="198" y="195"/>
                  <a:pt x="198" y="195"/>
                  <a:pt x="198" y="195"/>
                </a:cubicBezTo>
                <a:lnTo>
                  <a:pt x="198" y="141"/>
                </a:lnTo>
                <a:close/>
                <a:moveTo>
                  <a:pt x="287" y="141"/>
                </a:moveTo>
                <a:cubicBezTo>
                  <a:pt x="302" y="141"/>
                  <a:pt x="302" y="141"/>
                  <a:pt x="302" y="141"/>
                </a:cubicBezTo>
                <a:cubicBezTo>
                  <a:pt x="302" y="203"/>
                  <a:pt x="302" y="203"/>
                  <a:pt x="302" y="203"/>
                </a:cubicBezTo>
                <a:cubicBezTo>
                  <a:pt x="302" y="207"/>
                  <a:pt x="299" y="210"/>
                  <a:pt x="295" y="210"/>
                </a:cubicBezTo>
                <a:cubicBezTo>
                  <a:pt x="233" y="210"/>
                  <a:pt x="233" y="210"/>
                  <a:pt x="233" y="210"/>
                </a:cubicBezTo>
                <a:cubicBezTo>
                  <a:pt x="233" y="195"/>
                  <a:pt x="233" y="195"/>
                  <a:pt x="233" y="195"/>
                </a:cubicBezTo>
                <a:cubicBezTo>
                  <a:pt x="287" y="195"/>
                  <a:pt x="287" y="195"/>
                  <a:pt x="287" y="195"/>
                </a:cubicBezTo>
                <a:lnTo>
                  <a:pt x="287" y="141"/>
                </a:lnTo>
                <a:close/>
                <a:moveTo>
                  <a:pt x="108" y="314"/>
                </a:moveTo>
                <a:cubicBezTo>
                  <a:pt x="123" y="314"/>
                  <a:pt x="123" y="314"/>
                  <a:pt x="123" y="314"/>
                </a:cubicBezTo>
                <a:cubicBezTo>
                  <a:pt x="123" y="376"/>
                  <a:pt x="123" y="376"/>
                  <a:pt x="123" y="376"/>
                </a:cubicBezTo>
                <a:cubicBezTo>
                  <a:pt x="123" y="380"/>
                  <a:pt x="119" y="384"/>
                  <a:pt x="115" y="384"/>
                </a:cubicBezTo>
                <a:cubicBezTo>
                  <a:pt x="53" y="384"/>
                  <a:pt x="53" y="384"/>
                  <a:pt x="53" y="384"/>
                </a:cubicBezTo>
                <a:cubicBezTo>
                  <a:pt x="53" y="369"/>
                  <a:pt x="53" y="369"/>
                  <a:pt x="53" y="369"/>
                </a:cubicBezTo>
                <a:cubicBezTo>
                  <a:pt x="108" y="369"/>
                  <a:pt x="108" y="369"/>
                  <a:pt x="108" y="369"/>
                </a:cubicBezTo>
                <a:lnTo>
                  <a:pt x="108" y="314"/>
                </a:lnTo>
                <a:close/>
                <a:moveTo>
                  <a:pt x="198" y="314"/>
                </a:moveTo>
                <a:cubicBezTo>
                  <a:pt x="212" y="314"/>
                  <a:pt x="212" y="314"/>
                  <a:pt x="212" y="314"/>
                </a:cubicBezTo>
                <a:cubicBezTo>
                  <a:pt x="212" y="376"/>
                  <a:pt x="212" y="376"/>
                  <a:pt x="212" y="376"/>
                </a:cubicBezTo>
                <a:cubicBezTo>
                  <a:pt x="212" y="380"/>
                  <a:pt x="209" y="384"/>
                  <a:pt x="205" y="384"/>
                </a:cubicBezTo>
                <a:cubicBezTo>
                  <a:pt x="143" y="384"/>
                  <a:pt x="143" y="384"/>
                  <a:pt x="143" y="384"/>
                </a:cubicBezTo>
                <a:cubicBezTo>
                  <a:pt x="143" y="369"/>
                  <a:pt x="143" y="369"/>
                  <a:pt x="143" y="369"/>
                </a:cubicBezTo>
                <a:cubicBezTo>
                  <a:pt x="198" y="369"/>
                  <a:pt x="198" y="369"/>
                  <a:pt x="198" y="369"/>
                </a:cubicBezTo>
                <a:lnTo>
                  <a:pt x="198" y="314"/>
                </a:lnTo>
                <a:close/>
                <a:moveTo>
                  <a:pt x="287" y="314"/>
                </a:moveTo>
                <a:cubicBezTo>
                  <a:pt x="302" y="314"/>
                  <a:pt x="302" y="314"/>
                  <a:pt x="302" y="314"/>
                </a:cubicBezTo>
                <a:cubicBezTo>
                  <a:pt x="302" y="376"/>
                  <a:pt x="302" y="376"/>
                  <a:pt x="302" y="376"/>
                </a:cubicBezTo>
                <a:cubicBezTo>
                  <a:pt x="302" y="380"/>
                  <a:pt x="299" y="384"/>
                  <a:pt x="295" y="384"/>
                </a:cubicBezTo>
                <a:cubicBezTo>
                  <a:pt x="233" y="384"/>
                  <a:pt x="233" y="384"/>
                  <a:pt x="233" y="384"/>
                </a:cubicBezTo>
                <a:cubicBezTo>
                  <a:pt x="233" y="369"/>
                  <a:pt x="233" y="369"/>
                  <a:pt x="233" y="369"/>
                </a:cubicBezTo>
                <a:cubicBezTo>
                  <a:pt x="287" y="369"/>
                  <a:pt x="287" y="369"/>
                  <a:pt x="287" y="369"/>
                </a:cubicBezTo>
                <a:lnTo>
                  <a:pt x="287" y="314"/>
                </a:lnTo>
                <a:close/>
                <a:moveTo>
                  <a:pt x="108" y="227"/>
                </a:moveTo>
                <a:cubicBezTo>
                  <a:pt x="123" y="227"/>
                  <a:pt x="123" y="227"/>
                  <a:pt x="123" y="227"/>
                </a:cubicBezTo>
                <a:cubicBezTo>
                  <a:pt x="123" y="289"/>
                  <a:pt x="123" y="289"/>
                  <a:pt x="123" y="289"/>
                </a:cubicBezTo>
                <a:cubicBezTo>
                  <a:pt x="123" y="293"/>
                  <a:pt x="119" y="297"/>
                  <a:pt x="115" y="297"/>
                </a:cubicBezTo>
                <a:cubicBezTo>
                  <a:pt x="53" y="297"/>
                  <a:pt x="53" y="297"/>
                  <a:pt x="53" y="297"/>
                </a:cubicBezTo>
                <a:cubicBezTo>
                  <a:pt x="53" y="282"/>
                  <a:pt x="53" y="282"/>
                  <a:pt x="53" y="282"/>
                </a:cubicBezTo>
                <a:cubicBezTo>
                  <a:pt x="108" y="282"/>
                  <a:pt x="108" y="282"/>
                  <a:pt x="108" y="282"/>
                </a:cubicBezTo>
                <a:lnTo>
                  <a:pt x="108" y="227"/>
                </a:lnTo>
                <a:close/>
                <a:moveTo>
                  <a:pt x="198" y="227"/>
                </a:moveTo>
                <a:cubicBezTo>
                  <a:pt x="212" y="227"/>
                  <a:pt x="212" y="227"/>
                  <a:pt x="212" y="227"/>
                </a:cubicBezTo>
                <a:cubicBezTo>
                  <a:pt x="212" y="289"/>
                  <a:pt x="212" y="289"/>
                  <a:pt x="212" y="289"/>
                </a:cubicBezTo>
                <a:cubicBezTo>
                  <a:pt x="212" y="293"/>
                  <a:pt x="209" y="297"/>
                  <a:pt x="205" y="297"/>
                </a:cubicBezTo>
                <a:cubicBezTo>
                  <a:pt x="143" y="297"/>
                  <a:pt x="143" y="297"/>
                  <a:pt x="143" y="297"/>
                </a:cubicBezTo>
                <a:cubicBezTo>
                  <a:pt x="143" y="282"/>
                  <a:pt x="143" y="282"/>
                  <a:pt x="143" y="282"/>
                </a:cubicBezTo>
                <a:cubicBezTo>
                  <a:pt x="198" y="282"/>
                  <a:pt x="198" y="282"/>
                  <a:pt x="198" y="282"/>
                </a:cubicBezTo>
                <a:lnTo>
                  <a:pt x="198" y="227"/>
                </a:lnTo>
                <a:close/>
                <a:moveTo>
                  <a:pt x="287" y="227"/>
                </a:moveTo>
                <a:cubicBezTo>
                  <a:pt x="302" y="227"/>
                  <a:pt x="302" y="227"/>
                  <a:pt x="302" y="227"/>
                </a:cubicBezTo>
                <a:cubicBezTo>
                  <a:pt x="302" y="289"/>
                  <a:pt x="302" y="289"/>
                  <a:pt x="302" y="289"/>
                </a:cubicBezTo>
                <a:cubicBezTo>
                  <a:pt x="302" y="293"/>
                  <a:pt x="299" y="297"/>
                  <a:pt x="295" y="297"/>
                </a:cubicBezTo>
                <a:cubicBezTo>
                  <a:pt x="233" y="297"/>
                  <a:pt x="233" y="297"/>
                  <a:pt x="233" y="297"/>
                </a:cubicBezTo>
                <a:cubicBezTo>
                  <a:pt x="233" y="282"/>
                  <a:pt x="233" y="282"/>
                  <a:pt x="233" y="282"/>
                </a:cubicBezTo>
                <a:cubicBezTo>
                  <a:pt x="287" y="282"/>
                  <a:pt x="287" y="282"/>
                  <a:pt x="287" y="282"/>
                </a:cubicBezTo>
                <a:lnTo>
                  <a:pt x="287" y="22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51428" tIns="25715" rIns="51428" bIns="25715" numCol="1" anchor="t" anchorCtr="0" compatLnSpc="1">
            <a:prstTxWarp prst="textNoShape">
              <a:avLst/>
            </a:prstTxWarp>
          </a:bodyPr>
          <a:lstStyle/>
          <a:p>
            <a:endParaRPr lang="en-US" sz="1013"/>
          </a:p>
        </p:txBody>
      </p:sp>
      <p:sp>
        <p:nvSpPr>
          <p:cNvPr id="85" name="Freeform 80"/>
          <p:cNvSpPr>
            <a:spLocks noEditPoints="1"/>
          </p:cNvSpPr>
          <p:nvPr/>
        </p:nvSpPr>
        <p:spPr bwMode="auto">
          <a:xfrm>
            <a:off x="1233566" y="3284347"/>
            <a:ext cx="219881" cy="312557"/>
          </a:xfrm>
          <a:custGeom>
            <a:avLst/>
            <a:gdLst>
              <a:gd name="T0" fmla="*/ 273 w 280"/>
              <a:gd name="T1" fmla="*/ 0 h 413"/>
              <a:gd name="T2" fmla="*/ 7 w 280"/>
              <a:gd name="T3" fmla="*/ 0 h 413"/>
              <a:gd name="T4" fmla="*/ 0 w 280"/>
              <a:gd name="T5" fmla="*/ 7 h 413"/>
              <a:gd name="T6" fmla="*/ 0 w 280"/>
              <a:gd name="T7" fmla="*/ 406 h 413"/>
              <a:gd name="T8" fmla="*/ 7 w 280"/>
              <a:gd name="T9" fmla="*/ 413 h 413"/>
              <a:gd name="T10" fmla="*/ 273 w 280"/>
              <a:gd name="T11" fmla="*/ 413 h 413"/>
              <a:gd name="T12" fmla="*/ 280 w 280"/>
              <a:gd name="T13" fmla="*/ 406 h 413"/>
              <a:gd name="T14" fmla="*/ 280 w 280"/>
              <a:gd name="T15" fmla="*/ 7 h 413"/>
              <a:gd name="T16" fmla="*/ 273 w 280"/>
              <a:gd name="T17" fmla="*/ 0 h 413"/>
              <a:gd name="T18" fmla="*/ 266 w 280"/>
              <a:gd name="T19" fmla="*/ 398 h 413"/>
              <a:gd name="T20" fmla="*/ 14 w 280"/>
              <a:gd name="T21" fmla="*/ 398 h 413"/>
              <a:gd name="T22" fmla="*/ 14 w 280"/>
              <a:gd name="T23" fmla="*/ 14 h 413"/>
              <a:gd name="T24" fmla="*/ 266 w 280"/>
              <a:gd name="T25" fmla="*/ 14 h 413"/>
              <a:gd name="T26" fmla="*/ 266 w 280"/>
              <a:gd name="T27" fmla="*/ 398 h 413"/>
              <a:gd name="T28" fmla="*/ 108 w 280"/>
              <a:gd name="T29" fmla="*/ 81 h 413"/>
              <a:gd name="T30" fmla="*/ 174 w 280"/>
              <a:gd name="T31" fmla="*/ 81 h 413"/>
              <a:gd name="T32" fmla="*/ 198 w 280"/>
              <a:gd name="T33" fmla="*/ 57 h 413"/>
              <a:gd name="T34" fmla="*/ 174 w 280"/>
              <a:gd name="T35" fmla="*/ 33 h 413"/>
              <a:gd name="T36" fmla="*/ 108 w 280"/>
              <a:gd name="T37" fmla="*/ 33 h 413"/>
              <a:gd name="T38" fmla="*/ 84 w 280"/>
              <a:gd name="T39" fmla="*/ 57 h 413"/>
              <a:gd name="T40" fmla="*/ 108 w 280"/>
              <a:gd name="T41" fmla="*/ 81 h 413"/>
              <a:gd name="T42" fmla="*/ 108 w 280"/>
              <a:gd name="T43" fmla="*/ 48 h 413"/>
              <a:gd name="T44" fmla="*/ 174 w 280"/>
              <a:gd name="T45" fmla="*/ 48 h 413"/>
              <a:gd name="T46" fmla="*/ 184 w 280"/>
              <a:gd name="T47" fmla="*/ 57 h 413"/>
              <a:gd name="T48" fmla="*/ 174 w 280"/>
              <a:gd name="T49" fmla="*/ 66 h 413"/>
              <a:gd name="T50" fmla="*/ 108 w 280"/>
              <a:gd name="T51" fmla="*/ 66 h 413"/>
              <a:gd name="T52" fmla="*/ 99 w 280"/>
              <a:gd name="T53" fmla="*/ 57 h 413"/>
              <a:gd name="T54" fmla="*/ 108 w 280"/>
              <a:gd name="T55" fmla="*/ 48 h 413"/>
              <a:gd name="T56" fmla="*/ 140 w 280"/>
              <a:gd name="T57" fmla="*/ 207 h 413"/>
              <a:gd name="T58" fmla="*/ 73 w 280"/>
              <a:gd name="T59" fmla="*/ 207 h 413"/>
              <a:gd name="T60" fmla="*/ 73 w 280"/>
              <a:gd name="T61" fmla="*/ 140 h 413"/>
              <a:gd name="T62" fmla="*/ 140 w 280"/>
              <a:gd name="T63" fmla="*/ 140 h 413"/>
              <a:gd name="T64" fmla="*/ 140 w 280"/>
              <a:gd name="T65" fmla="*/ 207 h 413"/>
              <a:gd name="T66" fmla="*/ 206 w 280"/>
              <a:gd name="T67" fmla="*/ 280 h 413"/>
              <a:gd name="T68" fmla="*/ 74 w 280"/>
              <a:gd name="T69" fmla="*/ 280 h 413"/>
              <a:gd name="T70" fmla="*/ 74 w 280"/>
              <a:gd name="T71" fmla="*/ 266 h 413"/>
              <a:gd name="T72" fmla="*/ 206 w 280"/>
              <a:gd name="T73" fmla="*/ 266 h 413"/>
              <a:gd name="T74" fmla="*/ 206 w 280"/>
              <a:gd name="T75" fmla="*/ 280 h 413"/>
              <a:gd name="T76" fmla="*/ 75 w 280"/>
              <a:gd name="T77" fmla="*/ 232 h 413"/>
              <a:gd name="T78" fmla="*/ 207 w 280"/>
              <a:gd name="T79" fmla="*/ 232 h 413"/>
              <a:gd name="T80" fmla="*/ 207 w 280"/>
              <a:gd name="T81" fmla="*/ 247 h 413"/>
              <a:gd name="T82" fmla="*/ 75 w 280"/>
              <a:gd name="T83" fmla="*/ 247 h 413"/>
              <a:gd name="T84" fmla="*/ 75 w 280"/>
              <a:gd name="T85" fmla="*/ 232 h 413"/>
              <a:gd name="T86" fmla="*/ 74 w 280"/>
              <a:gd name="T87" fmla="*/ 313 h 413"/>
              <a:gd name="T88" fmla="*/ 74 w 280"/>
              <a:gd name="T89" fmla="*/ 299 h 413"/>
              <a:gd name="T90" fmla="*/ 206 w 280"/>
              <a:gd name="T91" fmla="*/ 299 h 413"/>
              <a:gd name="T92" fmla="*/ 206 w 280"/>
              <a:gd name="T93" fmla="*/ 313 h 413"/>
              <a:gd name="T94" fmla="*/ 74 w 280"/>
              <a:gd name="T95" fmla="*/ 313 h 413"/>
              <a:gd name="T96" fmla="*/ 206 w 280"/>
              <a:gd name="T97" fmla="*/ 347 h 413"/>
              <a:gd name="T98" fmla="*/ 73 w 280"/>
              <a:gd name="T99" fmla="*/ 347 h 413"/>
              <a:gd name="T100" fmla="*/ 73 w 280"/>
              <a:gd name="T101" fmla="*/ 332 h 413"/>
              <a:gd name="T102" fmla="*/ 206 w 280"/>
              <a:gd name="T103" fmla="*/ 332 h 413"/>
              <a:gd name="T104" fmla="*/ 206 w 280"/>
              <a:gd name="T105" fmla="*/ 347 h 4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80" h="413">
                <a:moveTo>
                  <a:pt x="273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0" y="3"/>
                  <a:pt x="0" y="7"/>
                </a:cubicBezTo>
                <a:cubicBezTo>
                  <a:pt x="0" y="406"/>
                  <a:pt x="0" y="406"/>
                  <a:pt x="0" y="406"/>
                </a:cubicBezTo>
                <a:cubicBezTo>
                  <a:pt x="0" y="410"/>
                  <a:pt x="3" y="413"/>
                  <a:pt x="7" y="413"/>
                </a:cubicBezTo>
                <a:cubicBezTo>
                  <a:pt x="273" y="413"/>
                  <a:pt x="273" y="413"/>
                  <a:pt x="273" y="413"/>
                </a:cubicBezTo>
                <a:cubicBezTo>
                  <a:pt x="277" y="413"/>
                  <a:pt x="280" y="410"/>
                  <a:pt x="280" y="406"/>
                </a:cubicBezTo>
                <a:cubicBezTo>
                  <a:pt x="280" y="7"/>
                  <a:pt x="280" y="7"/>
                  <a:pt x="280" y="7"/>
                </a:cubicBezTo>
                <a:cubicBezTo>
                  <a:pt x="280" y="3"/>
                  <a:pt x="277" y="0"/>
                  <a:pt x="273" y="0"/>
                </a:cubicBezTo>
                <a:close/>
                <a:moveTo>
                  <a:pt x="266" y="398"/>
                </a:moveTo>
                <a:cubicBezTo>
                  <a:pt x="14" y="398"/>
                  <a:pt x="14" y="398"/>
                  <a:pt x="14" y="398"/>
                </a:cubicBezTo>
                <a:cubicBezTo>
                  <a:pt x="14" y="14"/>
                  <a:pt x="14" y="14"/>
                  <a:pt x="14" y="14"/>
                </a:cubicBezTo>
                <a:cubicBezTo>
                  <a:pt x="266" y="14"/>
                  <a:pt x="266" y="14"/>
                  <a:pt x="266" y="14"/>
                </a:cubicBezTo>
                <a:lnTo>
                  <a:pt x="266" y="398"/>
                </a:lnTo>
                <a:close/>
                <a:moveTo>
                  <a:pt x="108" y="81"/>
                </a:moveTo>
                <a:cubicBezTo>
                  <a:pt x="174" y="81"/>
                  <a:pt x="174" y="81"/>
                  <a:pt x="174" y="81"/>
                </a:cubicBezTo>
                <a:cubicBezTo>
                  <a:pt x="187" y="81"/>
                  <a:pt x="198" y="70"/>
                  <a:pt x="198" y="57"/>
                </a:cubicBezTo>
                <a:cubicBezTo>
                  <a:pt x="198" y="44"/>
                  <a:pt x="187" y="33"/>
                  <a:pt x="174" y="33"/>
                </a:cubicBezTo>
                <a:cubicBezTo>
                  <a:pt x="108" y="33"/>
                  <a:pt x="108" y="33"/>
                  <a:pt x="108" y="33"/>
                </a:cubicBezTo>
                <a:cubicBezTo>
                  <a:pt x="95" y="33"/>
                  <a:pt x="84" y="44"/>
                  <a:pt x="84" y="57"/>
                </a:cubicBezTo>
                <a:cubicBezTo>
                  <a:pt x="84" y="70"/>
                  <a:pt x="95" y="81"/>
                  <a:pt x="108" y="81"/>
                </a:cubicBezTo>
                <a:close/>
                <a:moveTo>
                  <a:pt x="108" y="48"/>
                </a:moveTo>
                <a:cubicBezTo>
                  <a:pt x="174" y="48"/>
                  <a:pt x="174" y="48"/>
                  <a:pt x="174" y="48"/>
                </a:cubicBezTo>
                <a:cubicBezTo>
                  <a:pt x="179" y="48"/>
                  <a:pt x="184" y="52"/>
                  <a:pt x="184" y="57"/>
                </a:cubicBezTo>
                <a:cubicBezTo>
                  <a:pt x="184" y="62"/>
                  <a:pt x="179" y="66"/>
                  <a:pt x="174" y="66"/>
                </a:cubicBezTo>
                <a:cubicBezTo>
                  <a:pt x="108" y="66"/>
                  <a:pt x="108" y="66"/>
                  <a:pt x="108" y="66"/>
                </a:cubicBezTo>
                <a:cubicBezTo>
                  <a:pt x="103" y="66"/>
                  <a:pt x="99" y="62"/>
                  <a:pt x="99" y="57"/>
                </a:cubicBezTo>
                <a:cubicBezTo>
                  <a:pt x="99" y="52"/>
                  <a:pt x="103" y="48"/>
                  <a:pt x="108" y="48"/>
                </a:cubicBezTo>
                <a:close/>
                <a:moveTo>
                  <a:pt x="140" y="207"/>
                </a:moveTo>
                <a:cubicBezTo>
                  <a:pt x="73" y="207"/>
                  <a:pt x="73" y="207"/>
                  <a:pt x="73" y="207"/>
                </a:cubicBezTo>
                <a:cubicBezTo>
                  <a:pt x="73" y="140"/>
                  <a:pt x="73" y="140"/>
                  <a:pt x="73" y="140"/>
                </a:cubicBezTo>
                <a:cubicBezTo>
                  <a:pt x="140" y="140"/>
                  <a:pt x="140" y="140"/>
                  <a:pt x="140" y="140"/>
                </a:cubicBezTo>
                <a:lnTo>
                  <a:pt x="140" y="207"/>
                </a:lnTo>
                <a:close/>
                <a:moveTo>
                  <a:pt x="206" y="280"/>
                </a:moveTo>
                <a:cubicBezTo>
                  <a:pt x="74" y="280"/>
                  <a:pt x="74" y="280"/>
                  <a:pt x="74" y="280"/>
                </a:cubicBezTo>
                <a:cubicBezTo>
                  <a:pt x="74" y="266"/>
                  <a:pt x="74" y="266"/>
                  <a:pt x="74" y="266"/>
                </a:cubicBezTo>
                <a:cubicBezTo>
                  <a:pt x="206" y="266"/>
                  <a:pt x="206" y="266"/>
                  <a:pt x="206" y="266"/>
                </a:cubicBezTo>
                <a:lnTo>
                  <a:pt x="206" y="280"/>
                </a:lnTo>
                <a:close/>
                <a:moveTo>
                  <a:pt x="75" y="232"/>
                </a:moveTo>
                <a:cubicBezTo>
                  <a:pt x="207" y="232"/>
                  <a:pt x="207" y="232"/>
                  <a:pt x="207" y="232"/>
                </a:cubicBezTo>
                <a:cubicBezTo>
                  <a:pt x="207" y="247"/>
                  <a:pt x="207" y="247"/>
                  <a:pt x="207" y="247"/>
                </a:cubicBezTo>
                <a:cubicBezTo>
                  <a:pt x="75" y="247"/>
                  <a:pt x="75" y="247"/>
                  <a:pt x="75" y="247"/>
                </a:cubicBezTo>
                <a:lnTo>
                  <a:pt x="75" y="232"/>
                </a:lnTo>
                <a:close/>
                <a:moveTo>
                  <a:pt x="74" y="313"/>
                </a:moveTo>
                <a:cubicBezTo>
                  <a:pt x="74" y="299"/>
                  <a:pt x="74" y="299"/>
                  <a:pt x="74" y="299"/>
                </a:cubicBezTo>
                <a:cubicBezTo>
                  <a:pt x="206" y="299"/>
                  <a:pt x="206" y="299"/>
                  <a:pt x="206" y="299"/>
                </a:cubicBezTo>
                <a:cubicBezTo>
                  <a:pt x="206" y="313"/>
                  <a:pt x="206" y="313"/>
                  <a:pt x="206" y="313"/>
                </a:cubicBezTo>
                <a:lnTo>
                  <a:pt x="74" y="313"/>
                </a:lnTo>
                <a:close/>
                <a:moveTo>
                  <a:pt x="206" y="347"/>
                </a:moveTo>
                <a:cubicBezTo>
                  <a:pt x="73" y="347"/>
                  <a:pt x="73" y="347"/>
                  <a:pt x="73" y="347"/>
                </a:cubicBezTo>
                <a:cubicBezTo>
                  <a:pt x="73" y="332"/>
                  <a:pt x="73" y="332"/>
                  <a:pt x="73" y="332"/>
                </a:cubicBezTo>
                <a:cubicBezTo>
                  <a:pt x="206" y="332"/>
                  <a:pt x="206" y="332"/>
                  <a:pt x="206" y="332"/>
                </a:cubicBezTo>
                <a:lnTo>
                  <a:pt x="206" y="34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51428" tIns="25715" rIns="51428" bIns="25715" numCol="1" anchor="t" anchorCtr="0" compatLnSpc="1">
            <a:prstTxWarp prst="textNoShape">
              <a:avLst/>
            </a:prstTxWarp>
          </a:bodyPr>
          <a:lstStyle/>
          <a:p>
            <a:endParaRPr lang="en-US" sz="1013"/>
          </a:p>
        </p:txBody>
      </p:sp>
      <p:sp>
        <p:nvSpPr>
          <p:cNvPr id="86" name="TextBox 27"/>
          <p:cNvSpPr txBox="1"/>
          <p:nvPr/>
        </p:nvSpPr>
        <p:spPr>
          <a:xfrm>
            <a:off x="6680763" y="2043332"/>
            <a:ext cx="2171109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dirty="0" err="1">
                <a:solidFill>
                  <a:schemeClr val="bg1"/>
                </a:solidFill>
                <a:latin typeface="华文黑体" pitchFamily="2" charset="-122"/>
                <a:ea typeface="华文黑体" pitchFamily="2" charset="-122"/>
                <a:cs typeface="华文黑体" pitchFamily="2" charset="-122"/>
              </a:rPr>
              <a:t>game_info</a:t>
            </a:r>
            <a:r>
              <a:rPr lang="zh-CN" altLang="en-US" sz="2000" dirty="0">
                <a:solidFill>
                  <a:schemeClr val="bg1"/>
                </a:solidFill>
                <a:latin typeface="华文黑体" pitchFamily="2" charset="-122"/>
                <a:ea typeface="华文黑体" pitchFamily="2" charset="-122"/>
                <a:cs typeface="华文黑体" pitchFamily="2" charset="-122"/>
              </a:rPr>
              <a:t>表</a:t>
            </a:r>
            <a:endParaRPr lang="en-US" altLang="zh-CN" sz="2000" dirty="0">
              <a:solidFill>
                <a:schemeClr val="bg1"/>
              </a:solidFill>
              <a:latin typeface="华文黑体" pitchFamily="2" charset="-122"/>
              <a:ea typeface="华文黑体" pitchFamily="2" charset="-122"/>
              <a:cs typeface="华文黑体" pitchFamily="2" charset="-122"/>
            </a:endParaRPr>
          </a:p>
          <a:p>
            <a:endParaRPr lang="en-US" altLang="zh-CN" sz="2000" dirty="0">
              <a:solidFill>
                <a:schemeClr val="bg1"/>
              </a:solidFill>
              <a:latin typeface="华文黑体" pitchFamily="2" charset="-122"/>
              <a:ea typeface="华文黑体" pitchFamily="2" charset="-122"/>
              <a:cs typeface="华文黑体" pitchFamily="2" charset="-122"/>
            </a:endParaRPr>
          </a:p>
          <a:p>
            <a:r>
              <a:rPr lang="en-US" altLang="zh-CN" sz="2000" dirty="0">
                <a:solidFill>
                  <a:schemeClr val="bg1"/>
                </a:solidFill>
                <a:latin typeface="华文黑体" pitchFamily="2" charset="-122"/>
                <a:ea typeface="华文黑体" pitchFamily="2" charset="-122"/>
                <a:cs typeface="华文黑体" pitchFamily="2" charset="-122"/>
              </a:rPr>
              <a:t>user</a:t>
            </a:r>
            <a:r>
              <a:rPr lang="zh-CN" altLang="en-US" sz="2000" dirty="0">
                <a:solidFill>
                  <a:schemeClr val="bg1"/>
                </a:solidFill>
                <a:latin typeface="华文黑体" pitchFamily="2" charset="-122"/>
                <a:ea typeface="华文黑体" pitchFamily="2" charset="-122"/>
                <a:cs typeface="华文黑体" pitchFamily="2" charset="-122"/>
              </a:rPr>
              <a:t>表</a:t>
            </a:r>
            <a:endParaRPr lang="en-US" altLang="zh-CN" sz="2000" dirty="0">
              <a:solidFill>
                <a:schemeClr val="bg1"/>
              </a:solidFill>
              <a:latin typeface="华文黑体" pitchFamily="2" charset="-122"/>
              <a:ea typeface="华文黑体" pitchFamily="2" charset="-122"/>
              <a:cs typeface="华文黑体" pitchFamily="2" charset="-122"/>
            </a:endParaRPr>
          </a:p>
          <a:p>
            <a:endParaRPr lang="en-US" altLang="zh-CN" sz="2000" dirty="0">
              <a:solidFill>
                <a:schemeClr val="bg1"/>
              </a:solidFill>
              <a:latin typeface="华文黑体" pitchFamily="2" charset="-122"/>
              <a:ea typeface="华文黑体" pitchFamily="2" charset="-122"/>
              <a:cs typeface="华文黑体" pitchFamily="2" charset="-122"/>
            </a:endParaRPr>
          </a:p>
          <a:p>
            <a:r>
              <a:rPr lang="en-US" altLang="zh-CN" sz="2000" dirty="0" err="1">
                <a:solidFill>
                  <a:schemeClr val="bg1"/>
                </a:solidFill>
                <a:latin typeface="华文黑体" pitchFamily="2" charset="-122"/>
                <a:ea typeface="华文黑体" pitchFamily="2" charset="-122"/>
                <a:cs typeface="华文黑体" pitchFamily="2" charset="-122"/>
              </a:rPr>
              <a:t>user_friend</a:t>
            </a:r>
            <a:r>
              <a:rPr lang="zh-CN" altLang="en-US" sz="2000" dirty="0">
                <a:solidFill>
                  <a:schemeClr val="bg1"/>
                </a:solidFill>
                <a:latin typeface="华文黑体" pitchFamily="2" charset="-122"/>
                <a:ea typeface="华文黑体" pitchFamily="2" charset="-122"/>
                <a:cs typeface="华文黑体" pitchFamily="2" charset="-122"/>
              </a:rPr>
              <a:t>表</a:t>
            </a:r>
          </a:p>
        </p:txBody>
      </p:sp>
      <p:sp>
        <p:nvSpPr>
          <p:cNvPr id="87" name="TextBox 28"/>
          <p:cNvSpPr txBox="1"/>
          <p:nvPr/>
        </p:nvSpPr>
        <p:spPr>
          <a:xfrm>
            <a:off x="1179560" y="1976790"/>
            <a:ext cx="31323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华文细黑" pitchFamily="2" charset="-122"/>
                <a:ea typeface="华文细黑" pitchFamily="2" charset="-122"/>
                <a:cs typeface="华文黑体" pitchFamily="2" charset="-122"/>
              </a:rPr>
              <a:t>世界上最流行的开源数据库之一</a:t>
            </a:r>
          </a:p>
        </p:txBody>
      </p:sp>
      <p:sp>
        <p:nvSpPr>
          <p:cNvPr id="88" name="TextBox 29"/>
          <p:cNvSpPr txBox="1"/>
          <p:nvPr/>
        </p:nvSpPr>
        <p:spPr>
          <a:xfrm>
            <a:off x="1449590" y="3289134"/>
            <a:ext cx="1463859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500" dirty="0">
                <a:solidFill>
                  <a:schemeClr val="bg1"/>
                </a:solidFill>
                <a:latin typeface="华文细黑" pitchFamily="2" charset="-122"/>
                <a:ea typeface="华文黑体" pitchFamily="2" charset="-122"/>
                <a:cs typeface="华文黑体" pitchFamily="2" charset="-122"/>
              </a:rPr>
              <a:t>性能优异</a:t>
            </a:r>
            <a:endParaRPr lang="zh-CN" altLang="en-US" sz="1500" dirty="0">
              <a:solidFill>
                <a:schemeClr val="bg1"/>
              </a:solidFill>
              <a:latin typeface="华文细黑" pitchFamily="2" charset="-122"/>
              <a:ea typeface="华文细黑" pitchFamily="2" charset="-122"/>
              <a:cs typeface="华文黑体" pitchFamily="2" charset="-122"/>
            </a:endParaRPr>
          </a:p>
        </p:txBody>
      </p:sp>
      <p:sp>
        <p:nvSpPr>
          <p:cNvPr id="89" name="TextBox 30"/>
          <p:cNvSpPr txBox="1"/>
          <p:nvPr/>
        </p:nvSpPr>
        <p:spPr>
          <a:xfrm>
            <a:off x="1179560" y="3652107"/>
            <a:ext cx="31323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华文细黑" pitchFamily="2" charset="-122"/>
                <a:ea typeface="华文细黑" pitchFamily="2" charset="-122"/>
                <a:cs typeface="华文黑体" pitchFamily="2" charset="-122"/>
              </a:rPr>
              <a:t>数据管理快速平稳</a:t>
            </a:r>
          </a:p>
        </p:txBody>
      </p:sp>
      <p:grpSp>
        <p:nvGrpSpPr>
          <p:cNvPr id="90" name="组合 89"/>
          <p:cNvGrpSpPr/>
          <p:nvPr/>
        </p:nvGrpSpPr>
        <p:grpSpPr>
          <a:xfrm>
            <a:off x="1233565" y="1391048"/>
            <a:ext cx="4261381" cy="540060"/>
            <a:chOff x="1558702" y="1628800"/>
            <a:chExt cx="8244916" cy="720080"/>
          </a:xfrm>
        </p:grpSpPr>
        <p:cxnSp>
          <p:nvCxnSpPr>
            <p:cNvPr id="91" name="直接连接符 6"/>
            <p:cNvCxnSpPr/>
            <p:nvPr/>
          </p:nvCxnSpPr>
          <p:spPr>
            <a:xfrm>
              <a:off x="1558702" y="1628800"/>
              <a:ext cx="8172908" cy="648072"/>
            </a:xfrm>
            <a:prstGeom prst="bentConnector3">
              <a:avLst>
                <a:gd name="adj1" fmla="val 99935"/>
              </a:avLst>
            </a:prstGeom>
            <a:ln>
              <a:solidFill>
                <a:schemeClr val="bg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2" name="椭圆 91"/>
            <p:cNvSpPr/>
            <p:nvPr/>
          </p:nvSpPr>
          <p:spPr>
            <a:xfrm>
              <a:off x="9659602" y="2204864"/>
              <a:ext cx="144016" cy="14401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</p:grpSp>
      <p:grpSp>
        <p:nvGrpSpPr>
          <p:cNvPr id="93" name="组合 92"/>
          <p:cNvGrpSpPr/>
          <p:nvPr/>
        </p:nvGrpSpPr>
        <p:grpSpPr>
          <a:xfrm flipV="1">
            <a:off x="1233567" y="3828063"/>
            <a:ext cx="4261379" cy="540060"/>
            <a:chOff x="1558702" y="5301208"/>
            <a:chExt cx="8244916" cy="720080"/>
          </a:xfrm>
        </p:grpSpPr>
        <p:cxnSp>
          <p:nvCxnSpPr>
            <p:cNvPr id="94" name="直接连接符 6"/>
            <p:cNvCxnSpPr/>
            <p:nvPr/>
          </p:nvCxnSpPr>
          <p:spPr>
            <a:xfrm>
              <a:off x="1558702" y="5301208"/>
              <a:ext cx="8172908" cy="648072"/>
            </a:xfrm>
            <a:prstGeom prst="bentConnector3">
              <a:avLst>
                <a:gd name="adj1" fmla="val 99935"/>
              </a:avLst>
            </a:prstGeom>
            <a:ln>
              <a:solidFill>
                <a:schemeClr val="bg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5" name="椭圆 94"/>
            <p:cNvSpPr/>
            <p:nvPr/>
          </p:nvSpPr>
          <p:spPr>
            <a:xfrm>
              <a:off x="9659602" y="5877272"/>
              <a:ext cx="144016" cy="14401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</p:grpSp>
      <p:sp>
        <p:nvSpPr>
          <p:cNvPr id="96" name="矩形 95">
            <a:extLst>
              <a:ext uri="{FF2B5EF4-FFF2-40B4-BE49-F238E27FC236}">
                <a16:creationId xmlns:a16="http://schemas.microsoft.com/office/drawing/2014/main" id="{953784E6-26AD-4038-9DCB-BA381CC01670}"/>
              </a:ext>
            </a:extLst>
          </p:cNvPr>
          <p:cNvSpPr/>
          <p:nvPr/>
        </p:nvSpPr>
        <p:spPr>
          <a:xfrm>
            <a:off x="2281493" y="425317"/>
            <a:ext cx="4602542" cy="76944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zh-CN" altLang="en-US" sz="44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数据库：</a:t>
            </a:r>
            <a:r>
              <a:rPr lang="en-US" altLang="zh-CN" sz="4400" b="1" dirty="0" err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mariaDB</a:t>
            </a:r>
            <a:r>
              <a:rPr lang="en-US" altLang="zh-CN" sz="44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 </a:t>
            </a:r>
            <a:endParaRPr lang="zh-CN" altLang="en-US" sz="4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sp>
        <p:nvSpPr>
          <p:cNvPr id="97" name="TextBox 27">
            <a:extLst>
              <a:ext uri="{FF2B5EF4-FFF2-40B4-BE49-F238E27FC236}">
                <a16:creationId xmlns:a16="http://schemas.microsoft.com/office/drawing/2014/main" id="{4C8FCC81-7DC2-4DDE-BFA8-EFB9150712FF}"/>
              </a:ext>
            </a:extLst>
          </p:cNvPr>
          <p:cNvSpPr txBox="1"/>
          <p:nvPr/>
        </p:nvSpPr>
        <p:spPr>
          <a:xfrm>
            <a:off x="1601990" y="1766217"/>
            <a:ext cx="4863949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500" dirty="0">
                <a:solidFill>
                  <a:schemeClr val="bg1"/>
                </a:solidFill>
                <a:latin typeface="华文黑体" pitchFamily="2" charset="-122"/>
                <a:ea typeface="华文黑体" pitchFamily="2" charset="-122"/>
                <a:cs typeface="华文黑体" pitchFamily="2" charset="-122"/>
              </a:rPr>
              <a:t>开源项目</a:t>
            </a:r>
            <a:endParaRPr lang="zh-CN" altLang="en-US" sz="1500" dirty="0">
              <a:solidFill>
                <a:schemeClr val="bg1"/>
              </a:solidFill>
              <a:latin typeface="华文细黑" pitchFamily="2" charset="-122"/>
              <a:ea typeface="华文细黑" pitchFamily="2" charset="-122"/>
              <a:cs typeface="华文黑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1672156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 advTm="0">
        <p15:prstTrans prst="airplane"/>
      </p:transition>
    </mc:Choice>
    <mc:Fallback xmlns="">
      <p:transition spd="slow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500"/>
                            </p:stCondLst>
                            <p:childTnLst>
                              <p:par>
                                <p:cTn id="16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2" presetClass="entr" presetSubtype="2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3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2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6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2" presetClass="entr" presetSubtype="2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9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22" presetClass="entr" presetSubtype="2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2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22" presetClass="entr" presetSubtype="2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5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22" presetClass="entr" presetSubtype="2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8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22" presetClass="entr" presetSubtype="2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1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22" presetClass="entr" presetSubtype="2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4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22" presetClass="entr" presetSubtype="2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7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22" presetClass="entr" presetSubtype="2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0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22" presetClass="entr" presetSubtype="2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3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2" grpId="0"/>
      <p:bldP spid="73" grpId="0" animBg="1"/>
      <p:bldP spid="74" grpId="0" animBg="1"/>
      <p:bldP spid="84" grpId="0" animBg="1"/>
      <p:bldP spid="85" grpId="0" animBg="1"/>
      <p:bldP spid="86" grpId="0"/>
      <p:bldP spid="87" grpId="0"/>
      <p:bldP spid="88" grpId="0"/>
      <p:bldP spid="89" grpId="0"/>
      <p:bldP spid="97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合 3"/>
          <p:cNvGrpSpPr/>
          <p:nvPr/>
        </p:nvGrpSpPr>
        <p:grpSpPr>
          <a:xfrm>
            <a:off x="183398" y="425317"/>
            <a:ext cx="846443" cy="659285"/>
            <a:chOff x="5896029" y="567090"/>
            <a:chExt cx="2542304" cy="1980172"/>
          </a:xfrm>
        </p:grpSpPr>
        <p:grpSp>
          <p:nvGrpSpPr>
            <p:cNvPr id="5" name="组合 4"/>
            <p:cNvGrpSpPr/>
            <p:nvPr/>
          </p:nvGrpSpPr>
          <p:grpSpPr>
            <a:xfrm>
              <a:off x="6157182" y="567090"/>
              <a:ext cx="1982032" cy="1980172"/>
              <a:chOff x="6309221" y="788029"/>
              <a:chExt cx="2825105" cy="2822453"/>
            </a:xfrm>
          </p:grpSpPr>
          <p:sp>
            <p:nvSpPr>
              <p:cNvPr id="8" name="椭圆 7"/>
              <p:cNvSpPr/>
              <p:nvPr/>
            </p:nvSpPr>
            <p:spPr>
              <a:xfrm>
                <a:off x="6461555" y="939037"/>
                <a:ext cx="2520437" cy="2520437"/>
              </a:xfrm>
              <a:prstGeom prst="ellipse">
                <a:avLst/>
              </a:prstGeom>
              <a:solidFill>
                <a:srgbClr val="2921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grpSp>
            <p:nvGrpSpPr>
              <p:cNvPr id="9" name="组合 8"/>
              <p:cNvGrpSpPr/>
              <p:nvPr/>
            </p:nvGrpSpPr>
            <p:grpSpPr>
              <a:xfrm>
                <a:off x="6309221" y="788029"/>
                <a:ext cx="2825105" cy="2822453"/>
                <a:chOff x="2433048" y="1083945"/>
                <a:chExt cx="5333787" cy="5328780"/>
              </a:xfrm>
            </p:grpSpPr>
            <p:sp>
              <p:nvSpPr>
                <p:cNvPr id="10" name="十六角星 9"/>
                <p:cNvSpPr/>
                <p:nvPr/>
              </p:nvSpPr>
              <p:spPr>
                <a:xfrm>
                  <a:off x="2470676" y="1127265"/>
                  <a:ext cx="5254344" cy="5254344"/>
                </a:xfrm>
                <a:prstGeom prst="star16">
                  <a:avLst>
                    <a:gd name="adj" fmla="val 49459"/>
                  </a:avLst>
                </a:prstGeom>
                <a:noFill/>
                <a:ln w="6350">
                  <a:solidFill>
                    <a:srgbClr val="9D819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grpSp>
              <p:nvGrpSpPr>
                <p:cNvPr id="11" name="组合 10"/>
                <p:cNvGrpSpPr/>
                <p:nvPr/>
              </p:nvGrpSpPr>
              <p:grpSpPr>
                <a:xfrm>
                  <a:off x="2433048" y="1083945"/>
                  <a:ext cx="5333787" cy="5328780"/>
                  <a:chOff x="2280648" y="931545"/>
                  <a:chExt cx="5333787" cy="5328780"/>
                </a:xfrm>
              </p:grpSpPr>
              <p:sp>
                <p:nvSpPr>
                  <p:cNvPr id="48" name="椭圆 47"/>
                  <p:cNvSpPr/>
                  <p:nvPr/>
                </p:nvSpPr>
                <p:spPr>
                  <a:xfrm>
                    <a:off x="3903037" y="113166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49" name="椭圆 48"/>
                  <p:cNvSpPr/>
                  <p:nvPr/>
                </p:nvSpPr>
                <p:spPr>
                  <a:xfrm>
                    <a:off x="4916848" y="93154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0" name="椭圆 49"/>
                  <p:cNvSpPr/>
                  <p:nvPr/>
                </p:nvSpPr>
                <p:spPr>
                  <a:xfrm>
                    <a:off x="5937928" y="113116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1" name="椭圆 50"/>
                  <p:cNvSpPr/>
                  <p:nvPr/>
                </p:nvSpPr>
                <p:spPr>
                  <a:xfrm>
                    <a:off x="6763087" y="170149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2" name="椭圆 51"/>
                  <p:cNvSpPr/>
                  <p:nvPr/>
                </p:nvSpPr>
                <p:spPr>
                  <a:xfrm>
                    <a:off x="3057568" y="169725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3" name="椭圆 52"/>
                  <p:cNvSpPr/>
                  <p:nvPr/>
                </p:nvSpPr>
                <p:spPr>
                  <a:xfrm>
                    <a:off x="2481128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4" name="椭圆 53"/>
                  <p:cNvSpPr/>
                  <p:nvPr/>
                </p:nvSpPr>
                <p:spPr>
                  <a:xfrm>
                    <a:off x="7344374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5" name="椭圆 54"/>
                  <p:cNvSpPr/>
                  <p:nvPr/>
                </p:nvSpPr>
                <p:spPr>
                  <a:xfrm>
                    <a:off x="7542435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6" name="椭圆 55"/>
                  <p:cNvSpPr/>
                  <p:nvPr/>
                </p:nvSpPr>
                <p:spPr>
                  <a:xfrm>
                    <a:off x="2280648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7" name="椭圆 56"/>
                  <p:cNvSpPr/>
                  <p:nvPr/>
                </p:nvSpPr>
                <p:spPr>
                  <a:xfrm>
                    <a:off x="2499116" y="461641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8" name="椭圆 57"/>
                  <p:cNvSpPr/>
                  <p:nvPr/>
                </p:nvSpPr>
                <p:spPr>
                  <a:xfrm>
                    <a:off x="7321514" y="458973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9" name="椭圆 58"/>
                  <p:cNvSpPr/>
                  <p:nvPr/>
                </p:nvSpPr>
                <p:spPr>
                  <a:xfrm>
                    <a:off x="6772514" y="542670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0" name="椭圆 59"/>
                  <p:cNvSpPr/>
                  <p:nvPr/>
                </p:nvSpPr>
                <p:spPr>
                  <a:xfrm>
                    <a:off x="3057568" y="542246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1" name="椭圆 60"/>
                  <p:cNvSpPr/>
                  <p:nvPr/>
                </p:nvSpPr>
                <p:spPr>
                  <a:xfrm>
                    <a:off x="3903037" y="5981184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2" name="椭圆 61"/>
                  <p:cNvSpPr/>
                  <p:nvPr/>
                </p:nvSpPr>
                <p:spPr>
                  <a:xfrm>
                    <a:off x="5937928" y="598068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3" name="椭圆 62"/>
                  <p:cNvSpPr/>
                  <p:nvPr/>
                </p:nvSpPr>
                <p:spPr>
                  <a:xfrm>
                    <a:off x="4916848" y="618832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4" name="椭圆 63"/>
                  <p:cNvSpPr/>
                  <p:nvPr/>
                </p:nvSpPr>
                <p:spPr>
                  <a:xfrm>
                    <a:off x="4488353" y="265727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5" name="椭圆 64"/>
                  <p:cNvSpPr/>
                  <p:nvPr/>
                </p:nvSpPr>
                <p:spPr>
                  <a:xfrm>
                    <a:off x="3129568" y="2357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6" name="椭圆 65"/>
                  <p:cNvSpPr/>
                  <p:nvPr/>
                </p:nvSpPr>
                <p:spPr>
                  <a:xfrm>
                    <a:off x="6107323" y="2572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7" name="椭圆 66"/>
                  <p:cNvSpPr/>
                  <p:nvPr/>
                </p:nvSpPr>
                <p:spPr>
                  <a:xfrm>
                    <a:off x="5431118" y="154482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8" name="椭圆 67"/>
                  <p:cNvSpPr/>
                  <p:nvPr/>
                </p:nvSpPr>
                <p:spPr>
                  <a:xfrm>
                    <a:off x="3338442" y="486097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9" name="椭圆 68"/>
                  <p:cNvSpPr/>
                  <p:nvPr/>
                </p:nvSpPr>
                <p:spPr>
                  <a:xfrm>
                    <a:off x="4080450" y="349361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70" name="椭圆 69"/>
                  <p:cNvSpPr/>
                  <p:nvPr/>
                </p:nvSpPr>
                <p:spPr>
                  <a:xfrm>
                    <a:off x="5359118" y="568536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71" name="椭圆 70"/>
                  <p:cNvSpPr/>
                  <p:nvPr/>
                </p:nvSpPr>
                <p:spPr>
                  <a:xfrm>
                    <a:off x="6857155" y="346476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</p:grpSp>
            <p:cxnSp>
              <p:nvCxnSpPr>
                <p:cNvPr id="12" name="直接连接符 11"/>
                <p:cNvCxnSpPr>
                  <a:stCxn id="49" idx="4"/>
                  <a:endCxn id="67" idx="0"/>
                </p:cNvCxnSpPr>
                <p:nvPr/>
              </p:nvCxnSpPr>
              <p:spPr>
                <a:xfrm>
                  <a:off x="5105248" y="1155945"/>
                  <a:ext cx="514270" cy="5412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" name="直接连接符 12"/>
                <p:cNvCxnSpPr>
                  <a:stCxn id="48" idx="5"/>
                  <a:endCxn id="67" idx="2"/>
                </p:cNvCxnSpPr>
                <p:nvPr/>
              </p:nvCxnSpPr>
              <p:spPr>
                <a:xfrm>
                  <a:off x="4116893" y="1345521"/>
                  <a:ext cx="1466625" cy="38770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" name="直接连接符 13"/>
                <p:cNvCxnSpPr>
                  <a:stCxn id="65" idx="0"/>
                  <a:endCxn id="48" idx="4"/>
                </p:cNvCxnSpPr>
                <p:nvPr/>
              </p:nvCxnSpPr>
              <p:spPr>
                <a:xfrm flipV="1">
                  <a:off x="3317968" y="1356065"/>
                  <a:ext cx="773469" cy="1153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" name="直接连接符 14"/>
                <p:cNvCxnSpPr>
                  <a:stCxn id="70" idx="3"/>
                  <a:endCxn id="63" idx="0"/>
                </p:cNvCxnSpPr>
                <p:nvPr/>
              </p:nvCxnSpPr>
              <p:spPr>
                <a:xfrm flipH="1">
                  <a:off x="5105248" y="5899217"/>
                  <a:ext cx="416814" cy="44150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" name="直接连接符 15"/>
                <p:cNvCxnSpPr>
                  <a:stCxn id="53" idx="6"/>
                </p:cNvCxnSpPr>
                <p:nvPr/>
              </p:nvCxnSpPr>
              <p:spPr>
                <a:xfrm flipV="1">
                  <a:off x="2705528" y="2545627"/>
                  <a:ext cx="576440" cy="19911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" name="直接连接符 16"/>
                <p:cNvCxnSpPr>
                  <a:stCxn id="65" idx="6"/>
                  <a:endCxn id="64" idx="2"/>
                </p:cNvCxnSpPr>
                <p:nvPr/>
              </p:nvCxnSpPr>
              <p:spPr>
                <a:xfrm>
                  <a:off x="3353968" y="2545627"/>
                  <a:ext cx="1286785" cy="300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" name="直接连接符 17"/>
                <p:cNvCxnSpPr>
                  <a:stCxn id="64" idx="0"/>
                  <a:endCxn id="67" idx="4"/>
                </p:cNvCxnSpPr>
                <p:nvPr/>
              </p:nvCxnSpPr>
              <p:spPr>
                <a:xfrm flipV="1">
                  <a:off x="4676753" y="1769223"/>
                  <a:ext cx="942765" cy="104045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" name="直接连接符 18"/>
                <p:cNvCxnSpPr>
                  <a:stCxn id="56" idx="7"/>
                  <a:endCxn id="65" idx="3"/>
                </p:cNvCxnSpPr>
                <p:nvPr/>
              </p:nvCxnSpPr>
              <p:spPr>
                <a:xfrm flipV="1">
                  <a:off x="2494504" y="2571083"/>
                  <a:ext cx="798008" cy="113989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" name="直接连接符 19"/>
                <p:cNvCxnSpPr>
                  <a:stCxn id="65" idx="5"/>
                  <a:endCxn id="69" idx="1"/>
                </p:cNvCxnSpPr>
                <p:nvPr/>
              </p:nvCxnSpPr>
              <p:spPr>
                <a:xfrm>
                  <a:off x="3343424" y="2571083"/>
                  <a:ext cx="899970" cy="10854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" name="直接连接符 20"/>
                <p:cNvCxnSpPr>
                  <a:stCxn id="67" idx="7"/>
                  <a:endCxn id="50" idx="3"/>
                </p:cNvCxnSpPr>
                <p:nvPr/>
              </p:nvCxnSpPr>
              <p:spPr>
                <a:xfrm flipV="1">
                  <a:off x="5644974" y="1345025"/>
                  <a:ext cx="455898" cy="36274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" name="直接连接符 21"/>
                <p:cNvCxnSpPr>
                  <a:stCxn id="67" idx="6"/>
                  <a:endCxn id="51" idx="2"/>
                </p:cNvCxnSpPr>
                <p:nvPr/>
              </p:nvCxnSpPr>
              <p:spPr>
                <a:xfrm>
                  <a:off x="5655518" y="1733223"/>
                  <a:ext cx="1259969" cy="1566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" name="直接连接符 22"/>
                <p:cNvCxnSpPr>
                  <a:stCxn id="65" idx="7"/>
                  <a:endCxn id="67" idx="3"/>
                </p:cNvCxnSpPr>
                <p:nvPr/>
              </p:nvCxnSpPr>
              <p:spPr>
                <a:xfrm flipV="1">
                  <a:off x="3343424" y="1758679"/>
                  <a:ext cx="2250638" cy="761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" name="直接连接符 23"/>
                <p:cNvCxnSpPr>
                  <a:stCxn id="67" idx="5"/>
                  <a:endCxn id="66" idx="1"/>
                </p:cNvCxnSpPr>
                <p:nvPr/>
              </p:nvCxnSpPr>
              <p:spPr>
                <a:xfrm>
                  <a:off x="5644974" y="1758679"/>
                  <a:ext cx="625293" cy="976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" name="直接连接符 24"/>
                <p:cNvCxnSpPr>
                  <a:stCxn id="64" idx="6"/>
                  <a:endCxn id="66" idx="2"/>
                </p:cNvCxnSpPr>
                <p:nvPr/>
              </p:nvCxnSpPr>
              <p:spPr>
                <a:xfrm flipV="1">
                  <a:off x="4712753" y="2760627"/>
                  <a:ext cx="1546970" cy="85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" name="直接连接符 25"/>
                <p:cNvCxnSpPr>
                  <a:stCxn id="66" idx="3"/>
                  <a:endCxn id="70" idx="0"/>
                </p:cNvCxnSpPr>
                <p:nvPr/>
              </p:nvCxnSpPr>
              <p:spPr>
                <a:xfrm flipH="1">
                  <a:off x="5547518" y="2786083"/>
                  <a:ext cx="722749" cy="30516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" name="直接连接符 26"/>
                <p:cNvCxnSpPr>
                  <a:stCxn id="66" idx="0"/>
                  <a:endCxn id="51" idx="3"/>
                </p:cNvCxnSpPr>
                <p:nvPr/>
              </p:nvCxnSpPr>
              <p:spPr>
                <a:xfrm flipV="1">
                  <a:off x="6295723" y="1915353"/>
                  <a:ext cx="630308" cy="8092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" name="直接连接符 27"/>
                <p:cNvCxnSpPr>
                  <a:stCxn id="66" idx="5"/>
                  <a:endCxn id="71" idx="1"/>
                </p:cNvCxnSpPr>
                <p:nvPr/>
              </p:nvCxnSpPr>
              <p:spPr>
                <a:xfrm>
                  <a:off x="6321179" y="2786083"/>
                  <a:ext cx="698920" cy="84162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" name="直接连接符 28"/>
                <p:cNvCxnSpPr>
                  <a:stCxn id="71" idx="0"/>
                  <a:endCxn id="51" idx="4"/>
                </p:cNvCxnSpPr>
                <p:nvPr/>
              </p:nvCxnSpPr>
              <p:spPr>
                <a:xfrm flipH="1" flipV="1">
                  <a:off x="6951487" y="1925897"/>
                  <a:ext cx="94068" cy="169127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0" name="直接连接符 29"/>
                <p:cNvCxnSpPr>
                  <a:stCxn id="71" idx="7"/>
                  <a:endCxn id="54" idx="3"/>
                </p:cNvCxnSpPr>
                <p:nvPr/>
              </p:nvCxnSpPr>
              <p:spPr>
                <a:xfrm flipV="1">
                  <a:off x="7071011" y="2770197"/>
                  <a:ext cx="436307" cy="8575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1" name="直接连接符 30"/>
                <p:cNvCxnSpPr>
                  <a:stCxn id="58" idx="1"/>
                  <a:endCxn id="71" idx="5"/>
                </p:cNvCxnSpPr>
                <p:nvPr/>
              </p:nvCxnSpPr>
              <p:spPr>
                <a:xfrm flipH="1" flipV="1">
                  <a:off x="7071011" y="3678624"/>
                  <a:ext cx="413447" cy="107405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" name="直接连接符 31"/>
                <p:cNvCxnSpPr>
                  <a:stCxn id="64" idx="4"/>
                  <a:endCxn id="70" idx="1"/>
                </p:cNvCxnSpPr>
                <p:nvPr/>
              </p:nvCxnSpPr>
              <p:spPr>
                <a:xfrm>
                  <a:off x="4676753" y="2881677"/>
                  <a:ext cx="845309" cy="296662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" name="直接连接符 32"/>
                <p:cNvCxnSpPr>
                  <a:stCxn id="69" idx="5"/>
                  <a:endCxn id="70" idx="1"/>
                </p:cNvCxnSpPr>
                <p:nvPr/>
              </p:nvCxnSpPr>
              <p:spPr>
                <a:xfrm>
                  <a:off x="4294306" y="3707469"/>
                  <a:ext cx="1227756" cy="214083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" name="直接连接符 33"/>
                <p:cNvCxnSpPr>
                  <a:stCxn id="56" idx="5"/>
                  <a:endCxn id="68" idx="1"/>
                </p:cNvCxnSpPr>
                <p:nvPr/>
              </p:nvCxnSpPr>
              <p:spPr>
                <a:xfrm>
                  <a:off x="2494504" y="3761893"/>
                  <a:ext cx="1006882" cy="126202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5" name="直接连接符 34"/>
                <p:cNvCxnSpPr>
                  <a:stCxn id="68" idx="7"/>
                  <a:endCxn id="69" idx="2"/>
                </p:cNvCxnSpPr>
                <p:nvPr/>
              </p:nvCxnSpPr>
              <p:spPr>
                <a:xfrm flipV="1">
                  <a:off x="3552298" y="3682013"/>
                  <a:ext cx="680552" cy="134190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6" name="直接连接符 35"/>
                <p:cNvCxnSpPr>
                  <a:stCxn id="68" idx="0"/>
                  <a:endCxn id="65" idx="4"/>
                </p:cNvCxnSpPr>
                <p:nvPr/>
              </p:nvCxnSpPr>
              <p:spPr>
                <a:xfrm flipH="1" flipV="1">
                  <a:off x="3317968" y="2581627"/>
                  <a:ext cx="208874" cy="243174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" name="直接连接符 36"/>
                <p:cNvCxnSpPr>
                  <a:stCxn id="65" idx="1"/>
                  <a:endCxn id="52" idx="4"/>
                </p:cNvCxnSpPr>
                <p:nvPr/>
              </p:nvCxnSpPr>
              <p:spPr>
                <a:xfrm flipH="1" flipV="1">
                  <a:off x="3245968" y="1921650"/>
                  <a:ext cx="46544" cy="59852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" name="直接连接符 37"/>
                <p:cNvCxnSpPr>
                  <a:stCxn id="59" idx="0"/>
                  <a:endCxn id="71" idx="4"/>
                </p:cNvCxnSpPr>
                <p:nvPr/>
              </p:nvCxnSpPr>
              <p:spPr>
                <a:xfrm flipV="1">
                  <a:off x="6960914" y="3689168"/>
                  <a:ext cx="84641" cy="188994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9" name="直接连接符 38"/>
                <p:cNvCxnSpPr>
                  <a:stCxn id="71" idx="3"/>
                  <a:endCxn id="70" idx="7"/>
                </p:cNvCxnSpPr>
                <p:nvPr/>
              </p:nvCxnSpPr>
              <p:spPr>
                <a:xfrm flipH="1">
                  <a:off x="5572974" y="3678624"/>
                  <a:ext cx="1447125" cy="216968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0" name="直接连接符 39"/>
                <p:cNvCxnSpPr>
                  <a:stCxn id="70" idx="6"/>
                  <a:endCxn id="59" idx="2"/>
                </p:cNvCxnSpPr>
                <p:nvPr/>
              </p:nvCxnSpPr>
              <p:spPr>
                <a:xfrm flipV="1">
                  <a:off x="5583518" y="5615109"/>
                  <a:ext cx="1341396" cy="25865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1" name="直接连接符 40"/>
                <p:cNvCxnSpPr>
                  <a:stCxn id="70" idx="5"/>
                  <a:endCxn id="62" idx="1"/>
                </p:cNvCxnSpPr>
                <p:nvPr/>
              </p:nvCxnSpPr>
              <p:spPr>
                <a:xfrm>
                  <a:off x="5572974" y="5899217"/>
                  <a:ext cx="527898" cy="2444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2" name="直接连接符 41"/>
                <p:cNvCxnSpPr>
                  <a:stCxn id="69" idx="0"/>
                  <a:endCxn id="64" idx="3"/>
                </p:cNvCxnSpPr>
                <p:nvPr/>
              </p:nvCxnSpPr>
              <p:spPr>
                <a:xfrm flipV="1">
                  <a:off x="4268850" y="2871133"/>
                  <a:ext cx="382447" cy="77488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3" name="直接连接符 42"/>
                <p:cNvCxnSpPr>
                  <a:stCxn id="68" idx="6"/>
                  <a:endCxn id="70" idx="2"/>
                </p:cNvCxnSpPr>
                <p:nvPr/>
              </p:nvCxnSpPr>
              <p:spPr>
                <a:xfrm>
                  <a:off x="3562842" y="5049372"/>
                  <a:ext cx="1948676" cy="82438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4" name="直接连接符 43"/>
                <p:cNvCxnSpPr>
                  <a:stCxn id="57" idx="6"/>
                  <a:endCxn id="68" idx="2"/>
                </p:cNvCxnSpPr>
                <p:nvPr/>
              </p:nvCxnSpPr>
              <p:spPr>
                <a:xfrm>
                  <a:off x="2723516" y="4804810"/>
                  <a:ext cx="767326" cy="244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5" name="直接连接符 44"/>
                <p:cNvCxnSpPr>
                  <a:stCxn id="60" idx="7"/>
                  <a:endCxn id="68" idx="3"/>
                </p:cNvCxnSpPr>
                <p:nvPr/>
              </p:nvCxnSpPr>
              <p:spPr>
                <a:xfrm flipV="1">
                  <a:off x="3271424" y="5074828"/>
                  <a:ext cx="229962" cy="5105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6" name="直接连接符 45"/>
                <p:cNvCxnSpPr>
                  <a:stCxn id="61" idx="0"/>
                  <a:endCxn id="68" idx="5"/>
                </p:cNvCxnSpPr>
                <p:nvPr/>
              </p:nvCxnSpPr>
              <p:spPr>
                <a:xfrm flipH="1" flipV="1">
                  <a:off x="3552298" y="5074828"/>
                  <a:ext cx="539139" cy="105875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7" name="直接连接符 46"/>
                <p:cNvCxnSpPr>
                  <a:stCxn id="61" idx="7"/>
                  <a:endCxn id="70" idx="2"/>
                </p:cNvCxnSpPr>
                <p:nvPr/>
              </p:nvCxnSpPr>
              <p:spPr>
                <a:xfrm flipV="1">
                  <a:off x="4116893" y="5873761"/>
                  <a:ext cx="1394625" cy="270367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6" name="文本框 5"/>
            <p:cNvSpPr txBox="1"/>
            <p:nvPr/>
          </p:nvSpPr>
          <p:spPr>
            <a:xfrm>
              <a:off x="6610899" y="1009427"/>
              <a:ext cx="1107126" cy="10112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200" b="1" dirty="0">
                  <a:solidFill>
                    <a:schemeClr val="bg1"/>
                  </a:solidFill>
                  <a:latin typeface="方正兰亭粗黑简体" panose="02000000000000000000" pitchFamily="2" charset="-122"/>
                  <a:ea typeface="方正兰亭粗黑简体" panose="02000000000000000000" pitchFamily="2" charset="-122"/>
                </a:rPr>
                <a:t>3</a:t>
              </a:r>
              <a:endParaRPr lang="en-US" altLang="zh-CN" sz="825" b="1" dirty="0">
                <a:solidFill>
                  <a:schemeClr val="bg1"/>
                </a:solidFill>
                <a:latin typeface="方正兰亭粗黑简体" panose="02000000000000000000" pitchFamily="2" charset="-122"/>
                <a:ea typeface="方正兰亭粗黑简体" panose="02000000000000000000" pitchFamily="2" charset="-122"/>
              </a:endParaRPr>
            </a:p>
          </p:txBody>
        </p:sp>
        <p:sp>
          <p:nvSpPr>
            <p:cNvPr id="7" name="弧形 6"/>
            <p:cNvSpPr/>
            <p:nvPr/>
          </p:nvSpPr>
          <p:spPr>
            <a:xfrm rot="20705087">
              <a:off x="5896029" y="1413987"/>
              <a:ext cx="2542304" cy="475742"/>
            </a:xfrm>
            <a:prstGeom prst="arc">
              <a:avLst>
                <a:gd name="adj1" fmla="val 20946925"/>
                <a:gd name="adj2" fmla="val 11464655"/>
              </a:avLst>
            </a:prstGeom>
            <a:ln w="19050">
              <a:solidFill>
                <a:srgbClr val="9D819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</p:grpSp>
      <p:sp>
        <p:nvSpPr>
          <p:cNvPr id="72" name="文本框 71"/>
          <p:cNvSpPr txBox="1"/>
          <p:nvPr/>
        </p:nvSpPr>
        <p:spPr>
          <a:xfrm>
            <a:off x="1041984" y="517240"/>
            <a:ext cx="2104064" cy="4589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结构概述</a:t>
            </a:r>
            <a:endParaRPr lang="en-US" altLang="zh-CN" sz="75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3" name="Freeform 6"/>
          <p:cNvSpPr>
            <a:spLocks noChangeArrowheads="1"/>
          </p:cNvSpPr>
          <p:nvPr/>
        </p:nvSpPr>
        <p:spPr bwMode="auto">
          <a:xfrm>
            <a:off x="3339703" y="3539789"/>
            <a:ext cx="2331244" cy="209550"/>
          </a:xfrm>
          <a:custGeom>
            <a:avLst/>
            <a:gdLst>
              <a:gd name="T0" fmla="*/ 3061 w 3061"/>
              <a:gd name="T1" fmla="*/ 0 h 274"/>
              <a:gd name="T2" fmla="*/ 1623 w 3061"/>
              <a:gd name="T3" fmla="*/ 0 h 274"/>
              <a:gd name="T4" fmla="*/ 471 w 3061"/>
              <a:gd name="T5" fmla="*/ 0 h 274"/>
              <a:gd name="T6" fmla="*/ 0 w 3061"/>
              <a:gd name="T7" fmla="*/ 274 h 274"/>
              <a:gd name="T8" fmla="*/ 2592 w 3061"/>
              <a:gd name="T9" fmla="*/ 274 h 274"/>
              <a:gd name="T10" fmla="*/ 3061 w 3061"/>
              <a:gd name="T11" fmla="*/ 0 h 2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061" h="274">
                <a:moveTo>
                  <a:pt x="3061" y="0"/>
                </a:moveTo>
                <a:cubicBezTo>
                  <a:pt x="1623" y="0"/>
                  <a:pt x="1623" y="0"/>
                  <a:pt x="1623" y="0"/>
                </a:cubicBezTo>
                <a:cubicBezTo>
                  <a:pt x="471" y="0"/>
                  <a:pt x="471" y="0"/>
                  <a:pt x="471" y="0"/>
                </a:cubicBezTo>
                <a:cubicBezTo>
                  <a:pt x="0" y="274"/>
                  <a:pt x="0" y="274"/>
                  <a:pt x="0" y="274"/>
                </a:cubicBezTo>
                <a:cubicBezTo>
                  <a:pt x="2592" y="274"/>
                  <a:pt x="2592" y="274"/>
                  <a:pt x="2592" y="274"/>
                </a:cubicBezTo>
                <a:cubicBezTo>
                  <a:pt x="2592" y="274"/>
                  <a:pt x="3043" y="9"/>
                  <a:pt x="3061" y="0"/>
                </a:cubicBezTo>
              </a:path>
            </a:pathLst>
          </a:custGeom>
          <a:solidFill>
            <a:srgbClr val="FEFEFE"/>
          </a:solidFill>
          <a:ln>
            <a:noFill/>
          </a:ln>
        </p:spPr>
        <p:txBody>
          <a:bodyPr/>
          <a:lstStyle/>
          <a:p>
            <a:endParaRPr lang="zh-CN" altLang="en-US" sz="1013">
              <a:solidFill>
                <a:srgbClr val="000000"/>
              </a:solidFill>
            </a:endParaRPr>
          </a:p>
        </p:txBody>
      </p:sp>
      <p:sp>
        <p:nvSpPr>
          <p:cNvPr id="74" name="Freeform 14"/>
          <p:cNvSpPr>
            <a:spLocks noChangeArrowheads="1"/>
          </p:cNvSpPr>
          <p:nvPr/>
        </p:nvSpPr>
        <p:spPr bwMode="auto">
          <a:xfrm>
            <a:off x="3783151" y="2861126"/>
            <a:ext cx="1489472" cy="133350"/>
          </a:xfrm>
          <a:custGeom>
            <a:avLst/>
            <a:gdLst>
              <a:gd name="T0" fmla="*/ 1955 w 1955"/>
              <a:gd name="T1" fmla="*/ 0 h 175"/>
              <a:gd name="T2" fmla="*/ 301 w 1955"/>
              <a:gd name="T3" fmla="*/ 0 h 175"/>
              <a:gd name="T4" fmla="*/ 0 w 1955"/>
              <a:gd name="T5" fmla="*/ 175 h 175"/>
              <a:gd name="T6" fmla="*/ 1655 w 1955"/>
              <a:gd name="T7" fmla="*/ 175 h 175"/>
              <a:gd name="T8" fmla="*/ 1955 w 1955"/>
              <a:gd name="T9" fmla="*/ 0 h 1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955" h="175">
                <a:moveTo>
                  <a:pt x="1955" y="0"/>
                </a:moveTo>
                <a:cubicBezTo>
                  <a:pt x="301" y="0"/>
                  <a:pt x="301" y="0"/>
                  <a:pt x="301" y="0"/>
                </a:cubicBezTo>
                <a:cubicBezTo>
                  <a:pt x="0" y="175"/>
                  <a:pt x="0" y="175"/>
                  <a:pt x="0" y="175"/>
                </a:cubicBezTo>
                <a:cubicBezTo>
                  <a:pt x="1655" y="175"/>
                  <a:pt x="1655" y="175"/>
                  <a:pt x="1655" y="175"/>
                </a:cubicBezTo>
                <a:cubicBezTo>
                  <a:pt x="1655" y="175"/>
                  <a:pt x="1954" y="0"/>
                  <a:pt x="1955" y="0"/>
                </a:cubicBezTo>
              </a:path>
            </a:pathLst>
          </a:custGeom>
          <a:solidFill>
            <a:srgbClr val="FEFEFE"/>
          </a:solidFill>
          <a:ln>
            <a:noFill/>
          </a:ln>
        </p:spPr>
        <p:txBody>
          <a:bodyPr/>
          <a:lstStyle/>
          <a:p>
            <a:endParaRPr lang="zh-CN" altLang="en-US" sz="1013">
              <a:solidFill>
                <a:srgbClr val="000000"/>
              </a:solidFill>
            </a:endParaRPr>
          </a:p>
        </p:txBody>
      </p:sp>
      <p:sp>
        <p:nvSpPr>
          <p:cNvPr id="75" name="Freeform 16"/>
          <p:cNvSpPr>
            <a:spLocks noChangeArrowheads="1"/>
          </p:cNvSpPr>
          <p:nvPr/>
        </p:nvSpPr>
        <p:spPr bwMode="auto">
          <a:xfrm>
            <a:off x="4183856" y="2181049"/>
            <a:ext cx="702469" cy="135731"/>
          </a:xfrm>
          <a:custGeom>
            <a:avLst/>
            <a:gdLst>
              <a:gd name="T0" fmla="*/ 921 w 922"/>
              <a:gd name="T1" fmla="*/ 0 h 179"/>
              <a:gd name="T2" fmla="*/ 298 w 922"/>
              <a:gd name="T3" fmla="*/ 0 h 179"/>
              <a:gd name="T4" fmla="*/ 0 w 922"/>
              <a:gd name="T5" fmla="*/ 179 h 179"/>
              <a:gd name="T6" fmla="*/ 626 w 922"/>
              <a:gd name="T7" fmla="*/ 179 h 179"/>
              <a:gd name="T8" fmla="*/ 921 w 922"/>
              <a:gd name="T9" fmla="*/ 0 h 1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22" h="179">
                <a:moveTo>
                  <a:pt x="921" y="0"/>
                </a:moveTo>
                <a:cubicBezTo>
                  <a:pt x="298" y="0"/>
                  <a:pt x="298" y="0"/>
                  <a:pt x="298" y="0"/>
                </a:cubicBezTo>
                <a:cubicBezTo>
                  <a:pt x="298" y="0"/>
                  <a:pt x="2" y="179"/>
                  <a:pt x="0" y="179"/>
                </a:cubicBezTo>
                <a:cubicBezTo>
                  <a:pt x="626" y="179"/>
                  <a:pt x="626" y="179"/>
                  <a:pt x="626" y="179"/>
                </a:cubicBezTo>
                <a:cubicBezTo>
                  <a:pt x="626" y="179"/>
                  <a:pt x="922" y="0"/>
                  <a:pt x="921" y="0"/>
                </a:cubicBezTo>
              </a:path>
            </a:pathLst>
          </a:custGeom>
          <a:solidFill>
            <a:srgbClr val="FEFEFE"/>
          </a:solidFill>
          <a:ln>
            <a:noFill/>
          </a:ln>
        </p:spPr>
        <p:txBody>
          <a:bodyPr/>
          <a:lstStyle/>
          <a:p>
            <a:endParaRPr lang="zh-CN" altLang="en-US" sz="1013">
              <a:solidFill>
                <a:srgbClr val="000000"/>
              </a:solidFill>
            </a:endParaRPr>
          </a:p>
        </p:txBody>
      </p:sp>
      <p:grpSp>
        <p:nvGrpSpPr>
          <p:cNvPr id="76" name="组合 75"/>
          <p:cNvGrpSpPr/>
          <p:nvPr/>
        </p:nvGrpSpPr>
        <p:grpSpPr>
          <a:xfrm>
            <a:off x="4266010" y="1641617"/>
            <a:ext cx="620315" cy="542925"/>
            <a:chOff x="4266010" y="1641617"/>
            <a:chExt cx="620315" cy="542925"/>
          </a:xfrm>
        </p:grpSpPr>
        <p:sp>
          <p:nvSpPr>
            <p:cNvPr id="77" name="Freeform 8"/>
            <p:cNvSpPr>
              <a:spLocks noChangeArrowheads="1"/>
            </p:cNvSpPr>
            <p:nvPr/>
          </p:nvSpPr>
          <p:spPr bwMode="auto">
            <a:xfrm>
              <a:off x="4266010" y="1641617"/>
              <a:ext cx="620315" cy="542925"/>
            </a:xfrm>
            <a:custGeom>
              <a:avLst/>
              <a:gdLst>
                <a:gd name="T0" fmla="*/ 651 w 651"/>
                <a:gd name="T1" fmla="*/ 570 h 570"/>
                <a:gd name="T2" fmla="*/ 325 w 651"/>
                <a:gd name="T3" fmla="*/ 0 h 570"/>
                <a:gd name="T4" fmla="*/ 0 w 651"/>
                <a:gd name="T5" fmla="*/ 570 h 570"/>
                <a:gd name="T6" fmla="*/ 651 w 651"/>
                <a:gd name="T7" fmla="*/ 57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51" h="570">
                  <a:moveTo>
                    <a:pt x="651" y="570"/>
                  </a:moveTo>
                  <a:lnTo>
                    <a:pt x="325" y="0"/>
                  </a:lnTo>
                  <a:lnTo>
                    <a:pt x="0" y="570"/>
                  </a:lnTo>
                  <a:lnTo>
                    <a:pt x="651" y="570"/>
                  </a:lnTo>
                  <a:close/>
                </a:path>
              </a:pathLst>
            </a:custGeom>
            <a:solidFill>
              <a:schemeClr val="bg1">
                <a:alpha val="30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 sz="1013">
                <a:solidFill>
                  <a:srgbClr val="000000"/>
                </a:solidFill>
              </a:endParaRPr>
            </a:p>
          </p:txBody>
        </p:sp>
        <p:grpSp>
          <p:nvGrpSpPr>
            <p:cNvPr id="78" name="组合 77"/>
            <p:cNvGrpSpPr/>
            <p:nvPr/>
          </p:nvGrpSpPr>
          <p:grpSpPr>
            <a:xfrm>
              <a:off x="4469303" y="1822742"/>
              <a:ext cx="188528" cy="279357"/>
              <a:chOff x="1788810" y="2276744"/>
              <a:chExt cx="392113" cy="581026"/>
            </a:xfrm>
            <a:solidFill>
              <a:srgbClr val="FEFEFE"/>
            </a:solidFill>
          </p:grpSpPr>
          <p:sp>
            <p:nvSpPr>
              <p:cNvPr id="79" name="Freeform 9"/>
              <p:cNvSpPr>
                <a:spLocks noEditPoints="1"/>
              </p:cNvSpPr>
              <p:nvPr/>
            </p:nvSpPr>
            <p:spPr bwMode="auto">
              <a:xfrm>
                <a:off x="1788810" y="2276744"/>
                <a:ext cx="392113" cy="430213"/>
              </a:xfrm>
              <a:custGeom>
                <a:avLst/>
                <a:gdLst>
                  <a:gd name="T0" fmla="*/ 108 w 149"/>
                  <a:gd name="T1" fmla="*/ 163 h 163"/>
                  <a:gd name="T2" fmla="*/ 35 w 149"/>
                  <a:gd name="T3" fmla="*/ 163 h 163"/>
                  <a:gd name="T4" fmla="*/ 35 w 149"/>
                  <a:gd name="T5" fmla="*/ 158 h 163"/>
                  <a:gd name="T6" fmla="*/ 30 w 149"/>
                  <a:gd name="T7" fmla="*/ 142 h 163"/>
                  <a:gd name="T8" fmla="*/ 21 w 149"/>
                  <a:gd name="T9" fmla="*/ 127 h 163"/>
                  <a:gd name="T10" fmla="*/ 0 w 149"/>
                  <a:gd name="T11" fmla="*/ 74 h 163"/>
                  <a:gd name="T12" fmla="*/ 74 w 149"/>
                  <a:gd name="T13" fmla="*/ 0 h 163"/>
                  <a:gd name="T14" fmla="*/ 149 w 149"/>
                  <a:gd name="T15" fmla="*/ 74 h 163"/>
                  <a:gd name="T16" fmla="*/ 127 w 149"/>
                  <a:gd name="T17" fmla="*/ 127 h 163"/>
                  <a:gd name="T18" fmla="*/ 118 w 149"/>
                  <a:gd name="T19" fmla="*/ 142 h 163"/>
                  <a:gd name="T20" fmla="*/ 114 w 149"/>
                  <a:gd name="T21" fmla="*/ 158 h 163"/>
                  <a:gd name="T22" fmla="*/ 113 w 149"/>
                  <a:gd name="T23" fmla="*/ 163 h 163"/>
                  <a:gd name="T24" fmla="*/ 108 w 149"/>
                  <a:gd name="T25" fmla="*/ 163 h 163"/>
                  <a:gd name="T26" fmla="*/ 46 w 149"/>
                  <a:gd name="T27" fmla="*/ 151 h 163"/>
                  <a:gd name="T28" fmla="*/ 103 w 149"/>
                  <a:gd name="T29" fmla="*/ 151 h 163"/>
                  <a:gd name="T30" fmla="*/ 108 w 149"/>
                  <a:gd name="T31" fmla="*/ 136 h 163"/>
                  <a:gd name="T32" fmla="*/ 117 w 149"/>
                  <a:gd name="T33" fmla="*/ 120 h 163"/>
                  <a:gd name="T34" fmla="*/ 136 w 149"/>
                  <a:gd name="T35" fmla="*/ 74 h 163"/>
                  <a:gd name="T36" fmla="*/ 74 w 149"/>
                  <a:gd name="T37" fmla="*/ 12 h 163"/>
                  <a:gd name="T38" fmla="*/ 12 w 149"/>
                  <a:gd name="T39" fmla="*/ 74 h 163"/>
                  <a:gd name="T40" fmla="*/ 31 w 149"/>
                  <a:gd name="T41" fmla="*/ 120 h 163"/>
                  <a:gd name="T42" fmla="*/ 41 w 149"/>
                  <a:gd name="T43" fmla="*/ 136 h 163"/>
                  <a:gd name="T44" fmla="*/ 46 w 149"/>
                  <a:gd name="T45" fmla="*/ 151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9" h="163">
                    <a:moveTo>
                      <a:pt x="108" y="163"/>
                    </a:moveTo>
                    <a:cubicBezTo>
                      <a:pt x="35" y="163"/>
                      <a:pt x="35" y="163"/>
                      <a:pt x="35" y="163"/>
                    </a:cubicBezTo>
                    <a:cubicBezTo>
                      <a:pt x="35" y="158"/>
                      <a:pt x="35" y="158"/>
                      <a:pt x="35" y="158"/>
                    </a:cubicBezTo>
                    <a:cubicBezTo>
                      <a:pt x="34" y="153"/>
                      <a:pt x="32" y="144"/>
                      <a:pt x="30" y="142"/>
                    </a:cubicBezTo>
                    <a:cubicBezTo>
                      <a:pt x="28" y="137"/>
                      <a:pt x="24" y="132"/>
                      <a:pt x="21" y="127"/>
                    </a:cubicBezTo>
                    <a:cubicBezTo>
                      <a:pt x="11" y="112"/>
                      <a:pt x="0" y="95"/>
                      <a:pt x="0" y="74"/>
                    </a:cubicBezTo>
                    <a:cubicBezTo>
                      <a:pt x="0" y="33"/>
                      <a:pt x="33" y="0"/>
                      <a:pt x="74" y="0"/>
                    </a:cubicBezTo>
                    <a:cubicBezTo>
                      <a:pt x="115" y="0"/>
                      <a:pt x="149" y="33"/>
                      <a:pt x="149" y="74"/>
                    </a:cubicBezTo>
                    <a:cubicBezTo>
                      <a:pt x="149" y="95"/>
                      <a:pt x="138" y="112"/>
                      <a:pt x="127" y="127"/>
                    </a:cubicBezTo>
                    <a:cubicBezTo>
                      <a:pt x="124" y="132"/>
                      <a:pt x="121" y="137"/>
                      <a:pt x="118" y="142"/>
                    </a:cubicBezTo>
                    <a:cubicBezTo>
                      <a:pt x="117" y="144"/>
                      <a:pt x="115" y="153"/>
                      <a:pt x="114" y="158"/>
                    </a:cubicBezTo>
                    <a:cubicBezTo>
                      <a:pt x="113" y="163"/>
                      <a:pt x="113" y="163"/>
                      <a:pt x="113" y="163"/>
                    </a:cubicBezTo>
                    <a:lnTo>
                      <a:pt x="108" y="163"/>
                    </a:lnTo>
                    <a:close/>
                    <a:moveTo>
                      <a:pt x="46" y="151"/>
                    </a:moveTo>
                    <a:cubicBezTo>
                      <a:pt x="103" y="151"/>
                      <a:pt x="103" y="151"/>
                      <a:pt x="103" y="151"/>
                    </a:cubicBezTo>
                    <a:cubicBezTo>
                      <a:pt x="104" y="146"/>
                      <a:pt x="105" y="139"/>
                      <a:pt x="108" y="136"/>
                    </a:cubicBezTo>
                    <a:cubicBezTo>
                      <a:pt x="111" y="130"/>
                      <a:pt x="114" y="125"/>
                      <a:pt x="117" y="120"/>
                    </a:cubicBezTo>
                    <a:cubicBezTo>
                      <a:pt x="127" y="106"/>
                      <a:pt x="136" y="92"/>
                      <a:pt x="136" y="74"/>
                    </a:cubicBezTo>
                    <a:cubicBezTo>
                      <a:pt x="136" y="40"/>
                      <a:pt x="109" y="12"/>
                      <a:pt x="74" y="12"/>
                    </a:cubicBezTo>
                    <a:cubicBezTo>
                      <a:pt x="40" y="12"/>
                      <a:pt x="12" y="40"/>
                      <a:pt x="12" y="74"/>
                    </a:cubicBezTo>
                    <a:cubicBezTo>
                      <a:pt x="12" y="92"/>
                      <a:pt x="21" y="106"/>
                      <a:pt x="31" y="120"/>
                    </a:cubicBezTo>
                    <a:cubicBezTo>
                      <a:pt x="35" y="125"/>
                      <a:pt x="38" y="130"/>
                      <a:pt x="41" y="136"/>
                    </a:cubicBezTo>
                    <a:cubicBezTo>
                      <a:pt x="43" y="139"/>
                      <a:pt x="45" y="146"/>
                      <a:pt x="46" y="15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/>
                <a:endParaRPr lang="zh-CN" altLang="en-US" sz="1013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80" name="Freeform 10"/>
              <p:cNvSpPr/>
              <p:nvPr/>
            </p:nvSpPr>
            <p:spPr bwMode="auto">
              <a:xfrm>
                <a:off x="1884060" y="2729182"/>
                <a:ext cx="195263" cy="128588"/>
              </a:xfrm>
              <a:custGeom>
                <a:avLst/>
                <a:gdLst>
                  <a:gd name="T0" fmla="*/ 0 w 74"/>
                  <a:gd name="T1" fmla="*/ 0 h 49"/>
                  <a:gd name="T2" fmla="*/ 0 w 74"/>
                  <a:gd name="T3" fmla="*/ 20 h 49"/>
                  <a:gd name="T4" fmla="*/ 37 w 74"/>
                  <a:gd name="T5" fmla="*/ 49 h 49"/>
                  <a:gd name="T6" fmla="*/ 41 w 74"/>
                  <a:gd name="T7" fmla="*/ 49 h 49"/>
                  <a:gd name="T8" fmla="*/ 74 w 74"/>
                  <a:gd name="T9" fmla="*/ 20 h 49"/>
                  <a:gd name="T10" fmla="*/ 74 w 74"/>
                  <a:gd name="T11" fmla="*/ 0 h 49"/>
                  <a:gd name="T12" fmla="*/ 0 w 74"/>
                  <a:gd name="T13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4" h="49">
                    <a:moveTo>
                      <a:pt x="0" y="0"/>
                    </a:moveTo>
                    <a:cubicBezTo>
                      <a:pt x="0" y="20"/>
                      <a:pt x="0" y="20"/>
                      <a:pt x="0" y="20"/>
                    </a:cubicBezTo>
                    <a:cubicBezTo>
                      <a:pt x="0" y="36"/>
                      <a:pt x="17" y="49"/>
                      <a:pt x="37" y="49"/>
                    </a:cubicBezTo>
                    <a:cubicBezTo>
                      <a:pt x="41" y="49"/>
                      <a:pt x="41" y="49"/>
                      <a:pt x="41" y="49"/>
                    </a:cubicBezTo>
                    <a:cubicBezTo>
                      <a:pt x="61" y="49"/>
                      <a:pt x="74" y="36"/>
                      <a:pt x="74" y="20"/>
                    </a:cubicBezTo>
                    <a:cubicBezTo>
                      <a:pt x="74" y="0"/>
                      <a:pt x="74" y="0"/>
                      <a:pt x="74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/>
                <a:endParaRPr lang="zh-CN" altLang="en-US" sz="1013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81" name="Freeform 11"/>
              <p:cNvSpPr/>
              <p:nvPr/>
            </p:nvSpPr>
            <p:spPr bwMode="auto">
              <a:xfrm>
                <a:off x="1872947" y="2459307"/>
                <a:ext cx="223838" cy="179388"/>
              </a:xfrm>
              <a:custGeom>
                <a:avLst/>
                <a:gdLst>
                  <a:gd name="T0" fmla="*/ 83 w 85"/>
                  <a:gd name="T1" fmla="*/ 9 h 68"/>
                  <a:gd name="T2" fmla="*/ 62 w 85"/>
                  <a:gd name="T3" fmla="*/ 66 h 68"/>
                  <a:gd name="T4" fmla="*/ 62 w 85"/>
                  <a:gd name="T5" fmla="*/ 68 h 68"/>
                  <a:gd name="T6" fmla="*/ 52 w 85"/>
                  <a:gd name="T7" fmla="*/ 68 h 68"/>
                  <a:gd name="T8" fmla="*/ 53 w 85"/>
                  <a:gd name="T9" fmla="*/ 66 h 68"/>
                  <a:gd name="T10" fmla="*/ 67 w 85"/>
                  <a:gd name="T11" fmla="*/ 17 h 68"/>
                  <a:gd name="T12" fmla="*/ 67 w 85"/>
                  <a:gd name="T13" fmla="*/ 17 h 68"/>
                  <a:gd name="T14" fmla="*/ 66 w 85"/>
                  <a:gd name="T15" fmla="*/ 17 h 68"/>
                  <a:gd name="T16" fmla="*/ 55 w 85"/>
                  <a:gd name="T17" fmla="*/ 13 h 68"/>
                  <a:gd name="T18" fmla="*/ 44 w 85"/>
                  <a:gd name="T19" fmla="*/ 17 h 68"/>
                  <a:gd name="T20" fmla="*/ 30 w 85"/>
                  <a:gd name="T21" fmla="*/ 12 h 68"/>
                  <a:gd name="T22" fmla="*/ 17 w 85"/>
                  <a:gd name="T23" fmla="*/ 16 h 68"/>
                  <a:gd name="T24" fmla="*/ 30 w 85"/>
                  <a:gd name="T25" fmla="*/ 66 h 68"/>
                  <a:gd name="T26" fmla="*/ 31 w 85"/>
                  <a:gd name="T27" fmla="*/ 68 h 68"/>
                  <a:gd name="T28" fmla="*/ 21 w 85"/>
                  <a:gd name="T29" fmla="*/ 68 h 68"/>
                  <a:gd name="T30" fmla="*/ 21 w 85"/>
                  <a:gd name="T31" fmla="*/ 66 h 68"/>
                  <a:gd name="T32" fmla="*/ 2 w 85"/>
                  <a:gd name="T33" fmla="*/ 9 h 68"/>
                  <a:gd name="T34" fmla="*/ 2 w 85"/>
                  <a:gd name="T35" fmla="*/ 9 h 68"/>
                  <a:gd name="T36" fmla="*/ 1 w 85"/>
                  <a:gd name="T37" fmla="*/ 8 h 68"/>
                  <a:gd name="T38" fmla="*/ 1 w 85"/>
                  <a:gd name="T39" fmla="*/ 8 h 68"/>
                  <a:gd name="T40" fmla="*/ 1 w 85"/>
                  <a:gd name="T41" fmla="*/ 7 h 68"/>
                  <a:gd name="T42" fmla="*/ 2 w 85"/>
                  <a:gd name="T43" fmla="*/ 1 h 68"/>
                  <a:gd name="T44" fmla="*/ 9 w 85"/>
                  <a:gd name="T45" fmla="*/ 3 h 68"/>
                  <a:gd name="T46" fmla="*/ 9 w 85"/>
                  <a:gd name="T47" fmla="*/ 3 h 68"/>
                  <a:gd name="T48" fmla="*/ 16 w 85"/>
                  <a:gd name="T49" fmla="*/ 7 h 68"/>
                  <a:gd name="T50" fmla="*/ 27 w 85"/>
                  <a:gd name="T51" fmla="*/ 2 h 68"/>
                  <a:gd name="T52" fmla="*/ 31 w 85"/>
                  <a:gd name="T53" fmla="*/ 1 h 68"/>
                  <a:gd name="T54" fmla="*/ 34 w 85"/>
                  <a:gd name="T55" fmla="*/ 3 h 68"/>
                  <a:gd name="T56" fmla="*/ 43 w 85"/>
                  <a:gd name="T57" fmla="*/ 8 h 68"/>
                  <a:gd name="T58" fmla="*/ 52 w 85"/>
                  <a:gd name="T59" fmla="*/ 3 h 68"/>
                  <a:gd name="T60" fmla="*/ 55 w 85"/>
                  <a:gd name="T61" fmla="*/ 1 h 68"/>
                  <a:gd name="T62" fmla="*/ 59 w 85"/>
                  <a:gd name="T63" fmla="*/ 3 h 68"/>
                  <a:gd name="T64" fmla="*/ 66 w 85"/>
                  <a:gd name="T65" fmla="*/ 8 h 68"/>
                  <a:gd name="T66" fmla="*/ 66 w 85"/>
                  <a:gd name="T67" fmla="*/ 8 h 68"/>
                  <a:gd name="T68" fmla="*/ 76 w 85"/>
                  <a:gd name="T69" fmla="*/ 3 h 68"/>
                  <a:gd name="T70" fmla="*/ 82 w 85"/>
                  <a:gd name="T71" fmla="*/ 2 h 68"/>
                  <a:gd name="T72" fmla="*/ 83 w 85"/>
                  <a:gd name="T73" fmla="*/ 9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85" h="68">
                    <a:moveTo>
                      <a:pt x="83" y="9"/>
                    </a:moveTo>
                    <a:cubicBezTo>
                      <a:pt x="71" y="25"/>
                      <a:pt x="64" y="44"/>
                      <a:pt x="62" y="66"/>
                    </a:cubicBezTo>
                    <a:cubicBezTo>
                      <a:pt x="62" y="68"/>
                      <a:pt x="62" y="68"/>
                      <a:pt x="62" y="68"/>
                    </a:cubicBezTo>
                    <a:cubicBezTo>
                      <a:pt x="52" y="68"/>
                      <a:pt x="52" y="68"/>
                      <a:pt x="52" y="68"/>
                    </a:cubicBezTo>
                    <a:cubicBezTo>
                      <a:pt x="53" y="66"/>
                      <a:pt x="53" y="66"/>
                      <a:pt x="53" y="66"/>
                    </a:cubicBezTo>
                    <a:cubicBezTo>
                      <a:pt x="55" y="48"/>
                      <a:pt x="59" y="32"/>
                      <a:pt x="67" y="17"/>
                    </a:cubicBezTo>
                    <a:cubicBezTo>
                      <a:pt x="67" y="17"/>
                      <a:pt x="67" y="17"/>
                      <a:pt x="67" y="17"/>
                    </a:cubicBezTo>
                    <a:cubicBezTo>
                      <a:pt x="66" y="17"/>
                      <a:pt x="66" y="17"/>
                      <a:pt x="66" y="17"/>
                    </a:cubicBezTo>
                    <a:cubicBezTo>
                      <a:pt x="63" y="17"/>
                      <a:pt x="59" y="16"/>
                      <a:pt x="55" y="13"/>
                    </a:cubicBezTo>
                    <a:cubicBezTo>
                      <a:pt x="52" y="16"/>
                      <a:pt x="48" y="17"/>
                      <a:pt x="44" y="17"/>
                    </a:cubicBezTo>
                    <a:cubicBezTo>
                      <a:pt x="39" y="17"/>
                      <a:pt x="34" y="16"/>
                      <a:pt x="30" y="12"/>
                    </a:cubicBezTo>
                    <a:cubicBezTo>
                      <a:pt x="26" y="15"/>
                      <a:pt x="21" y="17"/>
                      <a:pt x="17" y="16"/>
                    </a:cubicBezTo>
                    <a:cubicBezTo>
                      <a:pt x="28" y="38"/>
                      <a:pt x="30" y="59"/>
                      <a:pt x="30" y="66"/>
                    </a:cubicBezTo>
                    <a:cubicBezTo>
                      <a:pt x="31" y="68"/>
                      <a:pt x="31" y="68"/>
                      <a:pt x="31" y="68"/>
                    </a:cubicBezTo>
                    <a:cubicBezTo>
                      <a:pt x="21" y="68"/>
                      <a:pt x="21" y="68"/>
                      <a:pt x="21" y="68"/>
                    </a:cubicBezTo>
                    <a:cubicBezTo>
                      <a:pt x="21" y="66"/>
                      <a:pt x="21" y="66"/>
                      <a:pt x="21" y="66"/>
                    </a:cubicBezTo>
                    <a:cubicBezTo>
                      <a:pt x="21" y="58"/>
                      <a:pt x="17" y="31"/>
                      <a:pt x="2" y="9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0" y="5"/>
                      <a:pt x="0" y="3"/>
                      <a:pt x="2" y="1"/>
                    </a:cubicBezTo>
                    <a:cubicBezTo>
                      <a:pt x="5" y="0"/>
                      <a:pt x="7" y="1"/>
                      <a:pt x="9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11" y="5"/>
                      <a:pt x="14" y="7"/>
                      <a:pt x="16" y="7"/>
                    </a:cubicBezTo>
                    <a:cubicBezTo>
                      <a:pt x="20" y="7"/>
                      <a:pt x="23" y="6"/>
                      <a:pt x="27" y="2"/>
                    </a:cubicBezTo>
                    <a:cubicBezTo>
                      <a:pt x="28" y="1"/>
                      <a:pt x="29" y="1"/>
                      <a:pt x="31" y="1"/>
                    </a:cubicBezTo>
                    <a:cubicBezTo>
                      <a:pt x="32" y="1"/>
                      <a:pt x="33" y="2"/>
                      <a:pt x="34" y="3"/>
                    </a:cubicBezTo>
                    <a:cubicBezTo>
                      <a:pt x="37" y="6"/>
                      <a:pt x="40" y="8"/>
                      <a:pt x="43" y="8"/>
                    </a:cubicBezTo>
                    <a:cubicBezTo>
                      <a:pt x="47" y="8"/>
                      <a:pt x="50" y="5"/>
                      <a:pt x="52" y="3"/>
                    </a:cubicBezTo>
                    <a:cubicBezTo>
                      <a:pt x="53" y="2"/>
                      <a:pt x="54" y="1"/>
                      <a:pt x="55" y="1"/>
                    </a:cubicBezTo>
                    <a:cubicBezTo>
                      <a:pt x="57" y="1"/>
                      <a:pt x="58" y="2"/>
                      <a:pt x="59" y="3"/>
                    </a:cubicBezTo>
                    <a:cubicBezTo>
                      <a:pt x="61" y="6"/>
                      <a:pt x="63" y="8"/>
                      <a:pt x="66" y="8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70" y="8"/>
                      <a:pt x="73" y="6"/>
                      <a:pt x="76" y="3"/>
                    </a:cubicBezTo>
                    <a:cubicBezTo>
                      <a:pt x="78" y="1"/>
                      <a:pt x="81" y="1"/>
                      <a:pt x="82" y="2"/>
                    </a:cubicBezTo>
                    <a:cubicBezTo>
                      <a:pt x="84" y="4"/>
                      <a:pt x="85" y="7"/>
                      <a:pt x="83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/>
                <a:endParaRPr lang="zh-CN" altLang="en-US" sz="1013" noProof="1">
                  <a:solidFill>
                    <a:prstClr val="white"/>
                  </a:solidFill>
                </a:endParaRPr>
              </a:p>
            </p:txBody>
          </p:sp>
        </p:grpSp>
      </p:grpSp>
      <p:grpSp>
        <p:nvGrpSpPr>
          <p:cNvPr id="82" name="组合 81"/>
          <p:cNvGrpSpPr/>
          <p:nvPr/>
        </p:nvGrpSpPr>
        <p:grpSpPr>
          <a:xfrm>
            <a:off x="3871913" y="2320273"/>
            <a:ext cx="1407319" cy="546497"/>
            <a:chOff x="3871913" y="2320273"/>
            <a:chExt cx="1407319" cy="546497"/>
          </a:xfrm>
        </p:grpSpPr>
        <p:sp>
          <p:nvSpPr>
            <p:cNvPr id="83" name="Freeform 10"/>
            <p:cNvSpPr>
              <a:spLocks noChangeArrowheads="1"/>
            </p:cNvSpPr>
            <p:nvPr/>
          </p:nvSpPr>
          <p:spPr bwMode="auto">
            <a:xfrm>
              <a:off x="3871913" y="2320273"/>
              <a:ext cx="1407319" cy="546497"/>
            </a:xfrm>
            <a:custGeom>
              <a:avLst/>
              <a:gdLst>
                <a:gd name="T0" fmla="*/ 1313 w 1477"/>
                <a:gd name="T1" fmla="*/ 287 h 573"/>
                <a:gd name="T2" fmla="*/ 1150 w 1477"/>
                <a:gd name="T3" fmla="*/ 0 h 573"/>
                <a:gd name="T4" fmla="*/ 327 w 1477"/>
                <a:gd name="T5" fmla="*/ 0 h 573"/>
                <a:gd name="T6" fmla="*/ 164 w 1477"/>
                <a:gd name="T7" fmla="*/ 287 h 573"/>
                <a:gd name="T8" fmla="*/ 0 w 1477"/>
                <a:gd name="T9" fmla="*/ 573 h 573"/>
                <a:gd name="T10" fmla="*/ 1477 w 1477"/>
                <a:gd name="T11" fmla="*/ 573 h 573"/>
                <a:gd name="T12" fmla="*/ 1313 w 1477"/>
                <a:gd name="T13" fmla="*/ 287 h 5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77" h="573">
                  <a:moveTo>
                    <a:pt x="1313" y="287"/>
                  </a:moveTo>
                  <a:lnTo>
                    <a:pt x="1150" y="0"/>
                  </a:lnTo>
                  <a:lnTo>
                    <a:pt x="327" y="0"/>
                  </a:lnTo>
                  <a:lnTo>
                    <a:pt x="164" y="287"/>
                  </a:lnTo>
                  <a:lnTo>
                    <a:pt x="0" y="573"/>
                  </a:lnTo>
                  <a:lnTo>
                    <a:pt x="1477" y="573"/>
                  </a:lnTo>
                  <a:lnTo>
                    <a:pt x="1313" y="287"/>
                  </a:lnTo>
                </a:path>
              </a:pathLst>
            </a:custGeom>
            <a:solidFill>
              <a:schemeClr val="bg1">
                <a:alpha val="30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 sz="1013">
                <a:solidFill>
                  <a:srgbClr val="000000"/>
                </a:solidFill>
              </a:endParaRPr>
            </a:p>
          </p:txBody>
        </p:sp>
        <p:sp>
          <p:nvSpPr>
            <p:cNvPr id="84" name="Freeform 13"/>
            <p:cNvSpPr>
              <a:spLocks noEditPoints="1"/>
            </p:cNvSpPr>
            <p:nvPr/>
          </p:nvSpPr>
          <p:spPr bwMode="auto">
            <a:xfrm>
              <a:off x="4493419" y="2448861"/>
              <a:ext cx="164306" cy="282178"/>
            </a:xfrm>
            <a:custGeom>
              <a:avLst/>
              <a:gdLst>
                <a:gd name="T0" fmla="*/ 73 w 130"/>
                <a:gd name="T1" fmla="*/ 98 h 222"/>
                <a:gd name="T2" fmla="*/ 118 w 130"/>
                <a:gd name="T3" fmla="*/ 116 h 222"/>
                <a:gd name="T4" fmla="*/ 130 w 130"/>
                <a:gd name="T5" fmla="*/ 149 h 222"/>
                <a:gd name="T6" fmla="*/ 115 w 130"/>
                <a:gd name="T7" fmla="*/ 186 h 222"/>
                <a:gd name="T8" fmla="*/ 73 w 130"/>
                <a:gd name="T9" fmla="*/ 203 h 222"/>
                <a:gd name="T10" fmla="*/ 73 w 130"/>
                <a:gd name="T11" fmla="*/ 222 h 222"/>
                <a:gd name="T12" fmla="*/ 58 w 130"/>
                <a:gd name="T13" fmla="*/ 222 h 222"/>
                <a:gd name="T14" fmla="*/ 58 w 130"/>
                <a:gd name="T15" fmla="*/ 203 h 222"/>
                <a:gd name="T16" fmla="*/ 0 w 130"/>
                <a:gd name="T17" fmla="*/ 150 h 222"/>
                <a:gd name="T18" fmla="*/ 26 w 130"/>
                <a:gd name="T19" fmla="*/ 150 h 222"/>
                <a:gd name="T20" fmla="*/ 58 w 130"/>
                <a:gd name="T21" fmla="*/ 185 h 222"/>
                <a:gd name="T22" fmla="*/ 58 w 130"/>
                <a:gd name="T23" fmla="*/ 117 h 222"/>
                <a:gd name="T24" fmla="*/ 4 w 130"/>
                <a:gd name="T25" fmla="*/ 69 h 222"/>
                <a:gd name="T26" fmla="*/ 19 w 130"/>
                <a:gd name="T27" fmla="*/ 34 h 222"/>
                <a:gd name="T28" fmla="*/ 58 w 130"/>
                <a:gd name="T29" fmla="*/ 19 h 222"/>
                <a:gd name="T30" fmla="*/ 58 w 130"/>
                <a:gd name="T31" fmla="*/ 0 h 222"/>
                <a:gd name="T32" fmla="*/ 73 w 130"/>
                <a:gd name="T33" fmla="*/ 0 h 222"/>
                <a:gd name="T34" fmla="*/ 73 w 130"/>
                <a:gd name="T35" fmla="*/ 19 h 222"/>
                <a:gd name="T36" fmla="*/ 125 w 130"/>
                <a:gd name="T37" fmla="*/ 63 h 222"/>
                <a:gd name="T38" fmla="*/ 99 w 130"/>
                <a:gd name="T39" fmla="*/ 63 h 222"/>
                <a:gd name="T40" fmla="*/ 73 w 130"/>
                <a:gd name="T41" fmla="*/ 37 h 222"/>
                <a:gd name="T42" fmla="*/ 73 w 130"/>
                <a:gd name="T43" fmla="*/ 98 h 222"/>
                <a:gd name="T44" fmla="*/ 58 w 130"/>
                <a:gd name="T45" fmla="*/ 96 h 222"/>
                <a:gd name="T46" fmla="*/ 58 w 130"/>
                <a:gd name="T47" fmla="*/ 37 h 222"/>
                <a:gd name="T48" fmla="*/ 30 w 130"/>
                <a:gd name="T49" fmla="*/ 67 h 222"/>
                <a:gd name="T50" fmla="*/ 38 w 130"/>
                <a:gd name="T51" fmla="*/ 86 h 222"/>
                <a:gd name="T52" fmla="*/ 58 w 130"/>
                <a:gd name="T53" fmla="*/ 96 h 222"/>
                <a:gd name="T54" fmla="*/ 73 w 130"/>
                <a:gd name="T55" fmla="*/ 185 h 222"/>
                <a:gd name="T56" fmla="*/ 104 w 130"/>
                <a:gd name="T57" fmla="*/ 150 h 222"/>
                <a:gd name="T58" fmla="*/ 97 w 130"/>
                <a:gd name="T59" fmla="*/ 131 h 222"/>
                <a:gd name="T60" fmla="*/ 73 w 130"/>
                <a:gd name="T61" fmla="*/ 120 h 222"/>
                <a:gd name="T62" fmla="*/ 73 w 130"/>
                <a:gd name="T63" fmla="*/ 185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30" h="222">
                  <a:moveTo>
                    <a:pt x="73" y="98"/>
                  </a:moveTo>
                  <a:cubicBezTo>
                    <a:pt x="95" y="103"/>
                    <a:pt x="110" y="109"/>
                    <a:pt x="118" y="116"/>
                  </a:cubicBezTo>
                  <a:cubicBezTo>
                    <a:pt x="126" y="124"/>
                    <a:pt x="130" y="135"/>
                    <a:pt x="130" y="149"/>
                  </a:cubicBezTo>
                  <a:cubicBezTo>
                    <a:pt x="130" y="163"/>
                    <a:pt x="125" y="175"/>
                    <a:pt x="115" y="186"/>
                  </a:cubicBezTo>
                  <a:cubicBezTo>
                    <a:pt x="105" y="196"/>
                    <a:pt x="91" y="202"/>
                    <a:pt x="73" y="203"/>
                  </a:cubicBezTo>
                  <a:cubicBezTo>
                    <a:pt x="73" y="222"/>
                    <a:pt x="73" y="222"/>
                    <a:pt x="73" y="222"/>
                  </a:cubicBezTo>
                  <a:cubicBezTo>
                    <a:pt x="58" y="222"/>
                    <a:pt x="58" y="222"/>
                    <a:pt x="58" y="222"/>
                  </a:cubicBezTo>
                  <a:cubicBezTo>
                    <a:pt x="58" y="203"/>
                    <a:pt x="58" y="203"/>
                    <a:pt x="58" y="203"/>
                  </a:cubicBezTo>
                  <a:cubicBezTo>
                    <a:pt x="22" y="200"/>
                    <a:pt x="2" y="182"/>
                    <a:pt x="0" y="150"/>
                  </a:cubicBezTo>
                  <a:cubicBezTo>
                    <a:pt x="26" y="150"/>
                    <a:pt x="26" y="150"/>
                    <a:pt x="26" y="150"/>
                  </a:cubicBezTo>
                  <a:cubicBezTo>
                    <a:pt x="28" y="170"/>
                    <a:pt x="39" y="182"/>
                    <a:pt x="58" y="185"/>
                  </a:cubicBezTo>
                  <a:cubicBezTo>
                    <a:pt x="58" y="117"/>
                    <a:pt x="58" y="117"/>
                    <a:pt x="58" y="117"/>
                  </a:cubicBezTo>
                  <a:cubicBezTo>
                    <a:pt x="22" y="110"/>
                    <a:pt x="4" y="94"/>
                    <a:pt x="4" y="69"/>
                  </a:cubicBezTo>
                  <a:cubicBezTo>
                    <a:pt x="4" y="54"/>
                    <a:pt x="9" y="43"/>
                    <a:pt x="19" y="34"/>
                  </a:cubicBezTo>
                  <a:cubicBezTo>
                    <a:pt x="28" y="25"/>
                    <a:pt x="42" y="20"/>
                    <a:pt x="58" y="19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73" y="19"/>
                    <a:pt x="73" y="19"/>
                    <a:pt x="73" y="19"/>
                  </a:cubicBezTo>
                  <a:cubicBezTo>
                    <a:pt x="105" y="21"/>
                    <a:pt x="122" y="35"/>
                    <a:pt x="125" y="63"/>
                  </a:cubicBezTo>
                  <a:cubicBezTo>
                    <a:pt x="99" y="63"/>
                    <a:pt x="99" y="63"/>
                    <a:pt x="99" y="63"/>
                  </a:cubicBezTo>
                  <a:cubicBezTo>
                    <a:pt x="98" y="48"/>
                    <a:pt x="89" y="39"/>
                    <a:pt x="73" y="37"/>
                  </a:cubicBezTo>
                  <a:lnTo>
                    <a:pt x="73" y="98"/>
                  </a:lnTo>
                  <a:close/>
                  <a:moveTo>
                    <a:pt x="58" y="96"/>
                  </a:moveTo>
                  <a:cubicBezTo>
                    <a:pt x="58" y="37"/>
                    <a:pt x="58" y="37"/>
                    <a:pt x="58" y="37"/>
                  </a:cubicBezTo>
                  <a:cubicBezTo>
                    <a:pt x="39" y="40"/>
                    <a:pt x="30" y="50"/>
                    <a:pt x="30" y="67"/>
                  </a:cubicBezTo>
                  <a:cubicBezTo>
                    <a:pt x="30" y="76"/>
                    <a:pt x="33" y="82"/>
                    <a:pt x="38" y="86"/>
                  </a:cubicBezTo>
                  <a:cubicBezTo>
                    <a:pt x="43" y="91"/>
                    <a:pt x="50" y="94"/>
                    <a:pt x="58" y="96"/>
                  </a:cubicBezTo>
                  <a:close/>
                  <a:moveTo>
                    <a:pt x="73" y="185"/>
                  </a:moveTo>
                  <a:cubicBezTo>
                    <a:pt x="93" y="182"/>
                    <a:pt x="104" y="171"/>
                    <a:pt x="104" y="150"/>
                  </a:cubicBezTo>
                  <a:cubicBezTo>
                    <a:pt x="104" y="142"/>
                    <a:pt x="102" y="135"/>
                    <a:pt x="97" y="131"/>
                  </a:cubicBezTo>
                  <a:cubicBezTo>
                    <a:pt x="93" y="126"/>
                    <a:pt x="85" y="122"/>
                    <a:pt x="73" y="120"/>
                  </a:cubicBezTo>
                  <a:lnTo>
                    <a:pt x="73" y="185"/>
                  </a:ln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/>
              <a:endParaRPr lang="zh-CN" altLang="en-US" sz="1013" noProof="1">
                <a:solidFill>
                  <a:prstClr val="white"/>
                </a:solidFill>
              </a:endParaRPr>
            </a:p>
          </p:txBody>
        </p:sp>
      </p:grpSp>
      <p:grpSp>
        <p:nvGrpSpPr>
          <p:cNvPr id="85" name="组合 84"/>
          <p:cNvGrpSpPr/>
          <p:nvPr/>
        </p:nvGrpSpPr>
        <p:grpSpPr>
          <a:xfrm>
            <a:off x="3480197" y="2997739"/>
            <a:ext cx="2190750" cy="546497"/>
            <a:chOff x="3480197" y="2997739"/>
            <a:chExt cx="2190750" cy="546497"/>
          </a:xfrm>
        </p:grpSpPr>
        <p:sp>
          <p:nvSpPr>
            <p:cNvPr id="86" name="Freeform 12"/>
            <p:cNvSpPr>
              <a:spLocks noChangeArrowheads="1"/>
            </p:cNvSpPr>
            <p:nvPr/>
          </p:nvSpPr>
          <p:spPr bwMode="auto">
            <a:xfrm>
              <a:off x="3480197" y="2997739"/>
              <a:ext cx="2190750" cy="546497"/>
            </a:xfrm>
            <a:custGeom>
              <a:avLst/>
              <a:gdLst>
                <a:gd name="T0" fmla="*/ 325 w 2299"/>
                <a:gd name="T1" fmla="*/ 0 h 574"/>
                <a:gd name="T2" fmla="*/ 0 w 2299"/>
                <a:gd name="T3" fmla="*/ 574 h 574"/>
                <a:gd name="T4" fmla="*/ 1149 w 2299"/>
                <a:gd name="T5" fmla="*/ 574 h 574"/>
                <a:gd name="T6" fmla="*/ 2299 w 2299"/>
                <a:gd name="T7" fmla="*/ 574 h 574"/>
                <a:gd name="T8" fmla="*/ 1974 w 2299"/>
                <a:gd name="T9" fmla="*/ 0 h 574"/>
                <a:gd name="T10" fmla="*/ 325 w 2299"/>
                <a:gd name="T11" fmla="*/ 0 h 5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99" h="574">
                  <a:moveTo>
                    <a:pt x="325" y="0"/>
                  </a:moveTo>
                  <a:lnTo>
                    <a:pt x="0" y="574"/>
                  </a:lnTo>
                  <a:lnTo>
                    <a:pt x="1149" y="574"/>
                  </a:lnTo>
                  <a:lnTo>
                    <a:pt x="2299" y="574"/>
                  </a:lnTo>
                  <a:lnTo>
                    <a:pt x="1974" y="0"/>
                  </a:lnTo>
                  <a:lnTo>
                    <a:pt x="325" y="0"/>
                  </a:lnTo>
                </a:path>
              </a:pathLst>
            </a:custGeom>
            <a:solidFill>
              <a:schemeClr val="bg1">
                <a:alpha val="30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 sz="1013">
                <a:solidFill>
                  <a:srgbClr val="000000"/>
                </a:solidFill>
              </a:endParaRPr>
            </a:p>
          </p:txBody>
        </p:sp>
        <p:sp>
          <p:nvSpPr>
            <p:cNvPr id="87" name="Freeform 19"/>
            <p:cNvSpPr>
              <a:spLocks noEditPoints="1"/>
            </p:cNvSpPr>
            <p:nvPr/>
          </p:nvSpPr>
          <p:spPr bwMode="auto">
            <a:xfrm>
              <a:off x="4450557" y="3157282"/>
              <a:ext cx="232172" cy="233363"/>
            </a:xfrm>
            <a:custGeom>
              <a:avLst/>
              <a:gdLst>
                <a:gd name="T0" fmla="*/ 281 w 311"/>
                <a:gd name="T1" fmla="*/ 130 h 312"/>
                <a:gd name="T2" fmla="*/ 311 w 311"/>
                <a:gd name="T3" fmla="*/ 116 h 312"/>
                <a:gd name="T4" fmla="*/ 294 w 311"/>
                <a:gd name="T5" fmla="*/ 75 h 312"/>
                <a:gd name="T6" fmla="*/ 263 w 311"/>
                <a:gd name="T7" fmla="*/ 86 h 312"/>
                <a:gd name="T8" fmla="*/ 226 w 311"/>
                <a:gd name="T9" fmla="*/ 48 h 312"/>
                <a:gd name="T10" fmla="*/ 237 w 311"/>
                <a:gd name="T11" fmla="*/ 17 h 312"/>
                <a:gd name="T12" fmla="*/ 197 w 311"/>
                <a:gd name="T13" fmla="*/ 0 h 312"/>
                <a:gd name="T14" fmla="*/ 183 w 311"/>
                <a:gd name="T15" fmla="*/ 30 h 312"/>
                <a:gd name="T16" fmla="*/ 129 w 311"/>
                <a:gd name="T17" fmla="*/ 30 h 312"/>
                <a:gd name="T18" fmla="*/ 115 w 311"/>
                <a:gd name="T19" fmla="*/ 0 h 312"/>
                <a:gd name="T20" fmla="*/ 75 w 311"/>
                <a:gd name="T21" fmla="*/ 17 h 312"/>
                <a:gd name="T22" fmla="*/ 86 w 311"/>
                <a:gd name="T23" fmla="*/ 48 h 312"/>
                <a:gd name="T24" fmla="*/ 48 w 311"/>
                <a:gd name="T25" fmla="*/ 85 h 312"/>
                <a:gd name="T26" fmla="*/ 17 w 311"/>
                <a:gd name="T27" fmla="*/ 74 h 312"/>
                <a:gd name="T28" fmla="*/ 0 w 311"/>
                <a:gd name="T29" fmla="*/ 114 h 312"/>
                <a:gd name="T30" fmla="*/ 30 w 311"/>
                <a:gd name="T31" fmla="*/ 129 h 312"/>
                <a:gd name="T32" fmla="*/ 30 w 311"/>
                <a:gd name="T33" fmla="*/ 182 h 312"/>
                <a:gd name="T34" fmla="*/ 0 w 311"/>
                <a:gd name="T35" fmla="*/ 196 h 312"/>
                <a:gd name="T36" fmla="*/ 16 w 311"/>
                <a:gd name="T37" fmla="*/ 236 h 312"/>
                <a:gd name="T38" fmla="*/ 47 w 311"/>
                <a:gd name="T39" fmla="*/ 225 h 312"/>
                <a:gd name="T40" fmla="*/ 85 w 311"/>
                <a:gd name="T41" fmla="*/ 263 h 312"/>
                <a:gd name="T42" fmla="*/ 73 w 311"/>
                <a:gd name="T43" fmla="*/ 294 h 312"/>
                <a:gd name="T44" fmla="*/ 114 w 311"/>
                <a:gd name="T45" fmla="*/ 311 h 312"/>
                <a:gd name="T46" fmla="*/ 128 w 311"/>
                <a:gd name="T47" fmla="*/ 281 h 312"/>
                <a:gd name="T48" fmla="*/ 181 w 311"/>
                <a:gd name="T49" fmla="*/ 282 h 312"/>
                <a:gd name="T50" fmla="*/ 195 w 311"/>
                <a:gd name="T51" fmla="*/ 312 h 312"/>
                <a:gd name="T52" fmla="*/ 236 w 311"/>
                <a:gd name="T53" fmla="*/ 295 h 312"/>
                <a:gd name="T54" fmla="*/ 225 w 311"/>
                <a:gd name="T55" fmla="*/ 264 h 312"/>
                <a:gd name="T56" fmla="*/ 263 w 311"/>
                <a:gd name="T57" fmla="*/ 226 h 312"/>
                <a:gd name="T58" fmla="*/ 294 w 311"/>
                <a:gd name="T59" fmla="*/ 238 h 312"/>
                <a:gd name="T60" fmla="*/ 311 w 311"/>
                <a:gd name="T61" fmla="*/ 197 h 312"/>
                <a:gd name="T62" fmla="*/ 281 w 311"/>
                <a:gd name="T63" fmla="*/ 183 h 312"/>
                <a:gd name="T64" fmla="*/ 281 w 311"/>
                <a:gd name="T65" fmla="*/ 130 h 312"/>
                <a:gd name="T66" fmla="*/ 155 w 311"/>
                <a:gd name="T67" fmla="*/ 254 h 312"/>
                <a:gd name="T68" fmla="*/ 57 w 311"/>
                <a:gd name="T69" fmla="*/ 156 h 312"/>
                <a:gd name="T70" fmla="*/ 155 w 311"/>
                <a:gd name="T71" fmla="*/ 57 h 312"/>
                <a:gd name="T72" fmla="*/ 254 w 311"/>
                <a:gd name="T73" fmla="*/ 156 h 312"/>
                <a:gd name="T74" fmla="*/ 155 w 311"/>
                <a:gd name="T75" fmla="*/ 254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11" h="312">
                  <a:moveTo>
                    <a:pt x="281" y="130"/>
                  </a:moveTo>
                  <a:cubicBezTo>
                    <a:pt x="311" y="116"/>
                    <a:pt x="311" y="116"/>
                    <a:pt x="311" y="116"/>
                  </a:cubicBezTo>
                  <a:cubicBezTo>
                    <a:pt x="294" y="75"/>
                    <a:pt x="294" y="75"/>
                    <a:pt x="294" y="75"/>
                  </a:cubicBezTo>
                  <a:cubicBezTo>
                    <a:pt x="263" y="86"/>
                    <a:pt x="263" y="86"/>
                    <a:pt x="263" y="86"/>
                  </a:cubicBezTo>
                  <a:cubicBezTo>
                    <a:pt x="253" y="71"/>
                    <a:pt x="240" y="58"/>
                    <a:pt x="226" y="48"/>
                  </a:cubicBezTo>
                  <a:cubicBezTo>
                    <a:pt x="237" y="17"/>
                    <a:pt x="237" y="17"/>
                    <a:pt x="237" y="17"/>
                  </a:cubicBezTo>
                  <a:cubicBezTo>
                    <a:pt x="197" y="0"/>
                    <a:pt x="197" y="0"/>
                    <a:pt x="197" y="0"/>
                  </a:cubicBezTo>
                  <a:cubicBezTo>
                    <a:pt x="183" y="30"/>
                    <a:pt x="183" y="30"/>
                    <a:pt x="183" y="30"/>
                  </a:cubicBezTo>
                  <a:cubicBezTo>
                    <a:pt x="165" y="27"/>
                    <a:pt x="147" y="26"/>
                    <a:pt x="129" y="30"/>
                  </a:cubicBezTo>
                  <a:cubicBezTo>
                    <a:pt x="115" y="0"/>
                    <a:pt x="115" y="0"/>
                    <a:pt x="115" y="0"/>
                  </a:cubicBezTo>
                  <a:cubicBezTo>
                    <a:pt x="75" y="17"/>
                    <a:pt x="75" y="17"/>
                    <a:pt x="75" y="17"/>
                  </a:cubicBezTo>
                  <a:cubicBezTo>
                    <a:pt x="86" y="48"/>
                    <a:pt x="86" y="48"/>
                    <a:pt x="86" y="48"/>
                  </a:cubicBezTo>
                  <a:cubicBezTo>
                    <a:pt x="70" y="58"/>
                    <a:pt x="58" y="71"/>
                    <a:pt x="48" y="85"/>
                  </a:cubicBezTo>
                  <a:cubicBezTo>
                    <a:pt x="17" y="74"/>
                    <a:pt x="17" y="74"/>
                    <a:pt x="17" y="74"/>
                  </a:cubicBezTo>
                  <a:cubicBezTo>
                    <a:pt x="0" y="114"/>
                    <a:pt x="0" y="114"/>
                    <a:pt x="0" y="114"/>
                  </a:cubicBezTo>
                  <a:cubicBezTo>
                    <a:pt x="30" y="129"/>
                    <a:pt x="30" y="129"/>
                    <a:pt x="30" y="129"/>
                  </a:cubicBezTo>
                  <a:cubicBezTo>
                    <a:pt x="26" y="146"/>
                    <a:pt x="26" y="164"/>
                    <a:pt x="30" y="182"/>
                  </a:cubicBezTo>
                  <a:cubicBezTo>
                    <a:pt x="0" y="196"/>
                    <a:pt x="0" y="196"/>
                    <a:pt x="0" y="196"/>
                  </a:cubicBezTo>
                  <a:cubicBezTo>
                    <a:pt x="16" y="236"/>
                    <a:pt x="16" y="236"/>
                    <a:pt x="16" y="236"/>
                  </a:cubicBezTo>
                  <a:cubicBezTo>
                    <a:pt x="47" y="225"/>
                    <a:pt x="47" y="225"/>
                    <a:pt x="47" y="225"/>
                  </a:cubicBezTo>
                  <a:cubicBezTo>
                    <a:pt x="57" y="241"/>
                    <a:pt x="70" y="253"/>
                    <a:pt x="85" y="263"/>
                  </a:cubicBezTo>
                  <a:cubicBezTo>
                    <a:pt x="73" y="294"/>
                    <a:pt x="73" y="294"/>
                    <a:pt x="73" y="294"/>
                  </a:cubicBezTo>
                  <a:cubicBezTo>
                    <a:pt x="114" y="311"/>
                    <a:pt x="114" y="311"/>
                    <a:pt x="114" y="311"/>
                  </a:cubicBezTo>
                  <a:cubicBezTo>
                    <a:pt x="128" y="281"/>
                    <a:pt x="128" y="281"/>
                    <a:pt x="128" y="281"/>
                  </a:cubicBezTo>
                  <a:cubicBezTo>
                    <a:pt x="145" y="285"/>
                    <a:pt x="163" y="285"/>
                    <a:pt x="181" y="282"/>
                  </a:cubicBezTo>
                  <a:cubicBezTo>
                    <a:pt x="195" y="312"/>
                    <a:pt x="195" y="312"/>
                    <a:pt x="195" y="312"/>
                  </a:cubicBezTo>
                  <a:cubicBezTo>
                    <a:pt x="236" y="295"/>
                    <a:pt x="236" y="295"/>
                    <a:pt x="236" y="295"/>
                  </a:cubicBezTo>
                  <a:cubicBezTo>
                    <a:pt x="225" y="264"/>
                    <a:pt x="225" y="264"/>
                    <a:pt x="225" y="264"/>
                  </a:cubicBezTo>
                  <a:cubicBezTo>
                    <a:pt x="240" y="254"/>
                    <a:pt x="253" y="241"/>
                    <a:pt x="263" y="226"/>
                  </a:cubicBezTo>
                  <a:cubicBezTo>
                    <a:pt x="294" y="238"/>
                    <a:pt x="294" y="238"/>
                    <a:pt x="294" y="238"/>
                  </a:cubicBezTo>
                  <a:cubicBezTo>
                    <a:pt x="311" y="197"/>
                    <a:pt x="311" y="197"/>
                    <a:pt x="311" y="197"/>
                  </a:cubicBezTo>
                  <a:cubicBezTo>
                    <a:pt x="281" y="183"/>
                    <a:pt x="281" y="183"/>
                    <a:pt x="281" y="183"/>
                  </a:cubicBezTo>
                  <a:cubicBezTo>
                    <a:pt x="285" y="166"/>
                    <a:pt x="285" y="148"/>
                    <a:pt x="281" y="130"/>
                  </a:cubicBezTo>
                  <a:close/>
                  <a:moveTo>
                    <a:pt x="155" y="254"/>
                  </a:moveTo>
                  <a:cubicBezTo>
                    <a:pt x="101" y="254"/>
                    <a:pt x="57" y="210"/>
                    <a:pt x="57" y="156"/>
                  </a:cubicBezTo>
                  <a:cubicBezTo>
                    <a:pt x="57" y="101"/>
                    <a:pt x="101" y="57"/>
                    <a:pt x="155" y="57"/>
                  </a:cubicBezTo>
                  <a:cubicBezTo>
                    <a:pt x="210" y="57"/>
                    <a:pt x="254" y="101"/>
                    <a:pt x="254" y="156"/>
                  </a:cubicBezTo>
                  <a:cubicBezTo>
                    <a:pt x="254" y="210"/>
                    <a:pt x="210" y="254"/>
                    <a:pt x="155" y="254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/>
              <a:endParaRPr lang="zh-CN" altLang="en-US" sz="1013" noProof="1">
                <a:solidFill>
                  <a:prstClr val="white"/>
                </a:solidFill>
              </a:endParaRPr>
            </a:p>
          </p:txBody>
        </p:sp>
      </p:grpSp>
      <p:grpSp>
        <p:nvGrpSpPr>
          <p:cNvPr id="88" name="组合 87"/>
          <p:cNvGrpSpPr/>
          <p:nvPr/>
        </p:nvGrpSpPr>
        <p:grpSpPr>
          <a:xfrm>
            <a:off x="2856310" y="3753786"/>
            <a:ext cx="3420665" cy="853678"/>
            <a:chOff x="2856310" y="3753786"/>
            <a:chExt cx="3420665" cy="853678"/>
          </a:xfrm>
        </p:grpSpPr>
        <p:sp>
          <p:nvSpPr>
            <p:cNvPr id="89" name="Freeform 7"/>
            <p:cNvSpPr>
              <a:spLocks noChangeArrowheads="1"/>
            </p:cNvSpPr>
            <p:nvPr/>
          </p:nvSpPr>
          <p:spPr bwMode="auto">
            <a:xfrm>
              <a:off x="2856310" y="3753786"/>
              <a:ext cx="3420665" cy="853678"/>
            </a:xfrm>
            <a:custGeom>
              <a:avLst/>
              <a:gdLst>
                <a:gd name="T0" fmla="*/ 508 w 3590"/>
                <a:gd name="T1" fmla="*/ 0 h 895"/>
                <a:gd name="T2" fmla="*/ 0 w 3590"/>
                <a:gd name="T3" fmla="*/ 895 h 895"/>
                <a:gd name="T4" fmla="*/ 1795 w 3590"/>
                <a:gd name="T5" fmla="*/ 895 h 895"/>
                <a:gd name="T6" fmla="*/ 3590 w 3590"/>
                <a:gd name="T7" fmla="*/ 895 h 895"/>
                <a:gd name="T8" fmla="*/ 3082 w 3590"/>
                <a:gd name="T9" fmla="*/ 0 h 895"/>
                <a:gd name="T10" fmla="*/ 508 w 3590"/>
                <a:gd name="T11" fmla="*/ 0 h 8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90" h="895">
                  <a:moveTo>
                    <a:pt x="508" y="0"/>
                  </a:moveTo>
                  <a:lnTo>
                    <a:pt x="0" y="895"/>
                  </a:lnTo>
                  <a:lnTo>
                    <a:pt x="1795" y="895"/>
                  </a:lnTo>
                  <a:lnTo>
                    <a:pt x="3590" y="895"/>
                  </a:lnTo>
                  <a:lnTo>
                    <a:pt x="3082" y="0"/>
                  </a:lnTo>
                  <a:lnTo>
                    <a:pt x="508" y="0"/>
                  </a:lnTo>
                  <a:close/>
                </a:path>
              </a:pathLst>
            </a:custGeom>
            <a:solidFill>
              <a:schemeClr val="bg1">
                <a:alpha val="30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 sz="1013">
                <a:solidFill>
                  <a:srgbClr val="000000"/>
                </a:solidFill>
              </a:endParaRPr>
            </a:p>
          </p:txBody>
        </p:sp>
        <p:grpSp>
          <p:nvGrpSpPr>
            <p:cNvPr id="90" name="组合 89"/>
            <p:cNvGrpSpPr/>
            <p:nvPr/>
          </p:nvGrpSpPr>
          <p:grpSpPr>
            <a:xfrm>
              <a:off x="4339820" y="3953992"/>
              <a:ext cx="471154" cy="453104"/>
              <a:chOff x="2607983" y="4241292"/>
              <a:chExt cx="490600" cy="471805"/>
            </a:xfrm>
            <a:solidFill>
              <a:srgbClr val="FEFEFE"/>
            </a:solidFill>
          </p:grpSpPr>
          <p:sp>
            <p:nvSpPr>
              <p:cNvPr id="91" name="Oval 131"/>
              <p:cNvSpPr>
                <a:spLocks noChangeArrowheads="1"/>
              </p:cNvSpPr>
              <p:nvPr/>
            </p:nvSpPr>
            <p:spPr bwMode="auto">
              <a:xfrm>
                <a:off x="2742898" y="4241292"/>
                <a:ext cx="220770" cy="22359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fontAlgn="auto"/>
                <a:endParaRPr lang="zh-CN" altLang="en-US" sz="1013" noProof="1">
                  <a:solidFill>
                    <a:prstClr val="black"/>
                  </a:solidFill>
                </a:endParaRPr>
              </a:p>
            </p:txBody>
          </p:sp>
          <p:sp>
            <p:nvSpPr>
              <p:cNvPr id="92" name="Freeform 134"/>
              <p:cNvSpPr/>
              <p:nvPr/>
            </p:nvSpPr>
            <p:spPr bwMode="auto">
              <a:xfrm>
                <a:off x="2607983" y="4499759"/>
                <a:ext cx="490600" cy="213338"/>
              </a:xfrm>
              <a:custGeom>
                <a:avLst/>
                <a:gdLst>
                  <a:gd name="T0" fmla="*/ 35 w 200"/>
                  <a:gd name="T1" fmla="*/ 87 h 87"/>
                  <a:gd name="T2" fmla="*/ 35 w 200"/>
                  <a:gd name="T3" fmla="*/ 72 h 87"/>
                  <a:gd name="T4" fmla="*/ 46 w 200"/>
                  <a:gd name="T5" fmla="*/ 72 h 87"/>
                  <a:gd name="T6" fmla="*/ 46 w 200"/>
                  <a:gd name="T7" fmla="*/ 87 h 87"/>
                  <a:gd name="T8" fmla="*/ 155 w 200"/>
                  <a:gd name="T9" fmla="*/ 87 h 87"/>
                  <a:gd name="T10" fmla="*/ 155 w 200"/>
                  <a:gd name="T11" fmla="*/ 72 h 87"/>
                  <a:gd name="T12" fmla="*/ 166 w 200"/>
                  <a:gd name="T13" fmla="*/ 72 h 87"/>
                  <a:gd name="T14" fmla="*/ 166 w 200"/>
                  <a:gd name="T15" fmla="*/ 87 h 87"/>
                  <a:gd name="T16" fmla="*/ 199 w 200"/>
                  <a:gd name="T17" fmla="*/ 87 h 87"/>
                  <a:gd name="T18" fmla="*/ 200 w 200"/>
                  <a:gd name="T19" fmla="*/ 43 h 87"/>
                  <a:gd name="T20" fmla="*/ 156 w 200"/>
                  <a:gd name="T21" fmla="*/ 0 h 87"/>
                  <a:gd name="T22" fmla="*/ 156 w 200"/>
                  <a:gd name="T23" fmla="*/ 0 h 87"/>
                  <a:gd name="T24" fmla="*/ 156 w 200"/>
                  <a:gd name="T25" fmla="*/ 0 h 87"/>
                  <a:gd name="T26" fmla="*/ 140 w 200"/>
                  <a:gd name="T27" fmla="*/ 0 h 87"/>
                  <a:gd name="T28" fmla="*/ 100 w 200"/>
                  <a:gd name="T29" fmla="*/ 80 h 87"/>
                  <a:gd name="T30" fmla="*/ 60 w 200"/>
                  <a:gd name="T31" fmla="*/ 0 h 87"/>
                  <a:gd name="T32" fmla="*/ 45 w 200"/>
                  <a:gd name="T33" fmla="*/ 0 h 87"/>
                  <a:gd name="T34" fmla="*/ 45 w 200"/>
                  <a:gd name="T35" fmla="*/ 0 h 87"/>
                  <a:gd name="T36" fmla="*/ 44 w 200"/>
                  <a:gd name="T37" fmla="*/ 0 h 87"/>
                  <a:gd name="T38" fmla="*/ 1 w 200"/>
                  <a:gd name="T39" fmla="*/ 43 h 87"/>
                  <a:gd name="T40" fmla="*/ 0 w 200"/>
                  <a:gd name="T41" fmla="*/ 87 h 87"/>
                  <a:gd name="T42" fmla="*/ 35 w 200"/>
                  <a:gd name="T43" fmla="*/ 87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00" h="87">
                    <a:moveTo>
                      <a:pt x="35" y="87"/>
                    </a:moveTo>
                    <a:cubicBezTo>
                      <a:pt x="35" y="72"/>
                      <a:pt x="35" y="72"/>
                      <a:pt x="35" y="72"/>
                    </a:cubicBezTo>
                    <a:cubicBezTo>
                      <a:pt x="46" y="72"/>
                      <a:pt x="46" y="72"/>
                      <a:pt x="46" y="72"/>
                    </a:cubicBezTo>
                    <a:cubicBezTo>
                      <a:pt x="46" y="87"/>
                      <a:pt x="46" y="87"/>
                      <a:pt x="46" y="87"/>
                    </a:cubicBezTo>
                    <a:cubicBezTo>
                      <a:pt x="155" y="87"/>
                      <a:pt x="155" y="87"/>
                      <a:pt x="155" y="87"/>
                    </a:cubicBezTo>
                    <a:cubicBezTo>
                      <a:pt x="155" y="72"/>
                      <a:pt x="155" y="72"/>
                      <a:pt x="155" y="72"/>
                    </a:cubicBezTo>
                    <a:cubicBezTo>
                      <a:pt x="166" y="72"/>
                      <a:pt x="166" y="72"/>
                      <a:pt x="166" y="72"/>
                    </a:cubicBezTo>
                    <a:cubicBezTo>
                      <a:pt x="166" y="87"/>
                      <a:pt x="166" y="87"/>
                      <a:pt x="166" y="87"/>
                    </a:cubicBezTo>
                    <a:cubicBezTo>
                      <a:pt x="199" y="87"/>
                      <a:pt x="199" y="87"/>
                      <a:pt x="199" y="87"/>
                    </a:cubicBezTo>
                    <a:cubicBezTo>
                      <a:pt x="199" y="47"/>
                      <a:pt x="200" y="43"/>
                      <a:pt x="200" y="43"/>
                    </a:cubicBezTo>
                    <a:cubicBezTo>
                      <a:pt x="200" y="19"/>
                      <a:pt x="180" y="0"/>
                      <a:pt x="156" y="0"/>
                    </a:cubicBezTo>
                    <a:cubicBezTo>
                      <a:pt x="156" y="0"/>
                      <a:pt x="156" y="0"/>
                      <a:pt x="156" y="0"/>
                    </a:cubicBezTo>
                    <a:cubicBezTo>
                      <a:pt x="156" y="0"/>
                      <a:pt x="156" y="0"/>
                      <a:pt x="156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00" y="80"/>
                      <a:pt x="100" y="80"/>
                      <a:pt x="100" y="80"/>
                    </a:cubicBezTo>
                    <a:cubicBezTo>
                      <a:pt x="60" y="0"/>
                      <a:pt x="60" y="0"/>
                      <a:pt x="60" y="0"/>
                    </a:cubicBezTo>
                    <a:cubicBezTo>
                      <a:pt x="45" y="0"/>
                      <a:pt x="45" y="0"/>
                      <a:pt x="45" y="0"/>
                    </a:cubicBezTo>
                    <a:cubicBezTo>
                      <a:pt x="45" y="0"/>
                      <a:pt x="45" y="0"/>
                      <a:pt x="45" y="0"/>
                    </a:cubicBezTo>
                    <a:cubicBezTo>
                      <a:pt x="45" y="0"/>
                      <a:pt x="44" y="0"/>
                      <a:pt x="44" y="0"/>
                    </a:cubicBezTo>
                    <a:cubicBezTo>
                      <a:pt x="20" y="0"/>
                      <a:pt x="1" y="19"/>
                      <a:pt x="1" y="43"/>
                    </a:cubicBezTo>
                    <a:cubicBezTo>
                      <a:pt x="1" y="43"/>
                      <a:pt x="0" y="47"/>
                      <a:pt x="0" y="87"/>
                    </a:cubicBezTo>
                    <a:lnTo>
                      <a:pt x="35" y="8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 fontAlgn="auto"/>
                <a:endParaRPr lang="zh-CN" altLang="en-US" sz="1013" noProof="1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93" name="文本框 60"/>
          <p:cNvSpPr>
            <a:spLocks noChangeArrowheads="1"/>
          </p:cNvSpPr>
          <p:nvPr/>
        </p:nvSpPr>
        <p:spPr bwMode="auto">
          <a:xfrm>
            <a:off x="6654566" y="4299687"/>
            <a:ext cx="1980029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zh-CN" altLang="en-US" sz="1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方正姚体" panose="02010601030101010101" pitchFamily="2" charset="-122"/>
              </a:rPr>
              <a:t>注册时，记录用户信息</a:t>
            </a:r>
            <a:endParaRPr lang="en-US" altLang="zh-CN" sz="8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方正姚体" panose="02010601030101010101" pitchFamily="2" charset="-122"/>
            </a:endParaRPr>
          </a:p>
        </p:txBody>
      </p:sp>
      <p:sp>
        <p:nvSpPr>
          <p:cNvPr id="94" name="文本框 60"/>
          <p:cNvSpPr>
            <a:spLocks noChangeArrowheads="1"/>
          </p:cNvSpPr>
          <p:nvPr/>
        </p:nvSpPr>
        <p:spPr bwMode="auto">
          <a:xfrm>
            <a:off x="552395" y="4299687"/>
            <a:ext cx="1980029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zh-CN" altLang="en-US" sz="1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方正姚体" panose="02010601030101010101" pitchFamily="2" charset="-122"/>
              </a:rPr>
              <a:t>登录时，匹配用户信息</a:t>
            </a:r>
            <a:endParaRPr lang="zh-CN" altLang="en-US" sz="1013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95" name="文本框 60"/>
          <p:cNvSpPr>
            <a:spLocks noChangeArrowheads="1"/>
          </p:cNvSpPr>
          <p:nvPr/>
        </p:nvSpPr>
        <p:spPr bwMode="auto">
          <a:xfrm>
            <a:off x="921343" y="3533073"/>
            <a:ext cx="1980029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zh-CN" altLang="en-US" sz="1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方正姚体" panose="02010601030101010101" pitchFamily="2" charset="-122"/>
              </a:rPr>
              <a:t>重置密码时，验证信息</a:t>
            </a:r>
            <a:endParaRPr lang="en-US" altLang="zh-CN" sz="8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方正姚体" panose="02010601030101010101" pitchFamily="2" charset="-122"/>
            </a:endParaRPr>
          </a:p>
        </p:txBody>
      </p:sp>
      <p:sp>
        <p:nvSpPr>
          <p:cNvPr id="96" name="文本框 60"/>
          <p:cNvSpPr>
            <a:spLocks noChangeArrowheads="1"/>
          </p:cNvSpPr>
          <p:nvPr/>
        </p:nvSpPr>
        <p:spPr bwMode="auto">
          <a:xfrm>
            <a:off x="5999430" y="2840586"/>
            <a:ext cx="902811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zh-CN" altLang="en-US" sz="1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方正姚体" panose="02010601030101010101" pitchFamily="2" charset="-122"/>
              </a:rPr>
              <a:t>游戏结算</a:t>
            </a:r>
            <a:endParaRPr lang="zh-CN" altLang="en-US" sz="1013" dirty="0">
              <a:solidFill>
                <a:srgbClr val="292929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97" name="矩形 96">
            <a:extLst>
              <a:ext uri="{FF2B5EF4-FFF2-40B4-BE49-F238E27FC236}">
                <a16:creationId xmlns:a16="http://schemas.microsoft.com/office/drawing/2014/main" id="{FB52B5F4-A201-4088-BC90-BB166592FC16}"/>
              </a:ext>
            </a:extLst>
          </p:cNvPr>
          <p:cNvSpPr/>
          <p:nvPr/>
        </p:nvSpPr>
        <p:spPr>
          <a:xfrm>
            <a:off x="3641642" y="425317"/>
            <a:ext cx="1882247" cy="76944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zh-CN" altLang="en-US" sz="44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数据库</a:t>
            </a:r>
            <a:endParaRPr lang="zh-CN" altLang="en-US" sz="4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sp>
        <p:nvSpPr>
          <p:cNvPr id="98" name="文本框 60">
            <a:extLst>
              <a:ext uri="{FF2B5EF4-FFF2-40B4-BE49-F238E27FC236}">
                <a16:creationId xmlns:a16="http://schemas.microsoft.com/office/drawing/2014/main" id="{B68CEB9D-971D-4CAE-85D4-FEC2C37FA4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82696" y="3533073"/>
            <a:ext cx="1980029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zh-CN" altLang="en-US" sz="1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方正姚体" panose="02010601030101010101" pitchFamily="2" charset="-122"/>
              </a:rPr>
              <a:t>验证正确时，重置密码</a:t>
            </a:r>
            <a:endParaRPr lang="en-US" altLang="zh-CN" sz="8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方正姚体" panose="02010601030101010101" pitchFamily="2" charset="-122"/>
            </a:endParaRPr>
          </a:p>
        </p:txBody>
      </p:sp>
      <p:sp>
        <p:nvSpPr>
          <p:cNvPr id="99" name="文本框 60">
            <a:extLst>
              <a:ext uri="{FF2B5EF4-FFF2-40B4-BE49-F238E27FC236}">
                <a16:creationId xmlns:a16="http://schemas.microsoft.com/office/drawing/2014/main" id="{2D30EE3D-6BAE-4764-9073-94A63972F69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87973" y="2848763"/>
            <a:ext cx="902811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zh-CN" altLang="en-US" sz="1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方正姚体" panose="02010601030101010101" pitchFamily="2" charset="-122"/>
              </a:rPr>
              <a:t>游戏信息</a:t>
            </a:r>
            <a:endParaRPr lang="en-US" altLang="zh-CN" sz="8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方正姚体" panose="02010601030101010101" pitchFamily="2" charset="-122"/>
            </a:endParaRPr>
          </a:p>
        </p:txBody>
      </p:sp>
      <p:sp>
        <p:nvSpPr>
          <p:cNvPr id="100" name="文本框 60">
            <a:extLst>
              <a:ext uri="{FF2B5EF4-FFF2-40B4-BE49-F238E27FC236}">
                <a16:creationId xmlns:a16="http://schemas.microsoft.com/office/drawing/2014/main" id="{A8C9A4BC-ED33-4543-960A-9E476AEFA9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43095" y="2320273"/>
            <a:ext cx="902811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zh-CN" altLang="en-US" sz="1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方正姚体" panose="02010601030101010101" pitchFamily="2" charset="-122"/>
              </a:rPr>
              <a:t>游戏好友</a:t>
            </a:r>
            <a:endParaRPr lang="en-US" altLang="zh-CN" sz="8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方正姚体" panose="02010601030101010101" pitchFamily="2" charset="-122"/>
            </a:endParaRPr>
          </a:p>
        </p:txBody>
      </p:sp>
      <p:sp>
        <p:nvSpPr>
          <p:cNvPr id="101" name="文本框 60">
            <a:extLst>
              <a:ext uri="{FF2B5EF4-FFF2-40B4-BE49-F238E27FC236}">
                <a16:creationId xmlns:a16="http://schemas.microsoft.com/office/drawing/2014/main" id="{93CEE25C-D0DF-4416-8226-8C3732C929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49332" y="2320889"/>
            <a:ext cx="902811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zh-CN" altLang="en-US" sz="1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方正姚体" panose="02010601030101010101" pitchFamily="2" charset="-122"/>
              </a:rPr>
              <a:t>游戏排名</a:t>
            </a:r>
            <a:endParaRPr lang="en-US" altLang="zh-CN" sz="8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方正姚体" panose="02010601030101010101" pitchFamily="2" charset="-122"/>
            </a:endParaRPr>
          </a:p>
        </p:txBody>
      </p:sp>
      <p:sp>
        <p:nvSpPr>
          <p:cNvPr id="102" name="文本框 60">
            <a:extLst>
              <a:ext uri="{FF2B5EF4-FFF2-40B4-BE49-F238E27FC236}">
                <a16:creationId xmlns:a16="http://schemas.microsoft.com/office/drawing/2014/main" id="{DE86CAA1-A444-418B-9581-C1C0098FB0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90784" y="1615296"/>
            <a:ext cx="902811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zh-CN" altLang="en-US" sz="1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方正姚体" panose="02010601030101010101" pitchFamily="2" charset="-122"/>
              </a:rPr>
              <a:t>修改昵称</a:t>
            </a:r>
            <a:endParaRPr lang="en-US" altLang="zh-CN" sz="8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方正姚体" panose="02010601030101010101" pitchFamily="2" charset="-122"/>
            </a:endParaRPr>
          </a:p>
        </p:txBody>
      </p:sp>
      <p:sp>
        <p:nvSpPr>
          <p:cNvPr id="105" name="文本框 60">
            <a:extLst>
              <a:ext uri="{FF2B5EF4-FFF2-40B4-BE49-F238E27FC236}">
                <a16:creationId xmlns:a16="http://schemas.microsoft.com/office/drawing/2014/main" id="{16721C90-FEDF-4682-A4CC-BE424551611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04218" y="1618316"/>
            <a:ext cx="902811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zh-CN" altLang="en-US" sz="1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方正姚体" panose="02010601030101010101" pitchFamily="2" charset="-122"/>
              </a:rPr>
              <a:t>修改战绩</a:t>
            </a:r>
            <a:endParaRPr lang="en-US" altLang="zh-CN" sz="8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方正姚体" panose="02010601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5135116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0">
        <p14:flip dir="r"/>
      </p:transition>
    </mc:Choice>
    <mc:Fallback xmlns="">
      <p:transition spd="slow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9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4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4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9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2" grpId="0"/>
      <p:bldP spid="73" grpId="0" animBg="1"/>
      <p:bldP spid="74" grpId="0" animBg="1"/>
      <p:bldP spid="75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合 3"/>
          <p:cNvGrpSpPr/>
          <p:nvPr/>
        </p:nvGrpSpPr>
        <p:grpSpPr>
          <a:xfrm>
            <a:off x="183398" y="425317"/>
            <a:ext cx="846443" cy="659285"/>
            <a:chOff x="5896029" y="567090"/>
            <a:chExt cx="2542304" cy="1980172"/>
          </a:xfrm>
        </p:grpSpPr>
        <p:grpSp>
          <p:nvGrpSpPr>
            <p:cNvPr id="5" name="组合 4"/>
            <p:cNvGrpSpPr/>
            <p:nvPr/>
          </p:nvGrpSpPr>
          <p:grpSpPr>
            <a:xfrm>
              <a:off x="6157182" y="567090"/>
              <a:ext cx="1982032" cy="1980172"/>
              <a:chOff x="6309221" y="788029"/>
              <a:chExt cx="2825105" cy="2822453"/>
            </a:xfrm>
          </p:grpSpPr>
          <p:sp>
            <p:nvSpPr>
              <p:cNvPr id="8" name="椭圆 7"/>
              <p:cNvSpPr/>
              <p:nvPr/>
            </p:nvSpPr>
            <p:spPr>
              <a:xfrm>
                <a:off x="6461555" y="939037"/>
                <a:ext cx="2520437" cy="2520437"/>
              </a:xfrm>
              <a:prstGeom prst="ellipse">
                <a:avLst/>
              </a:prstGeom>
              <a:solidFill>
                <a:srgbClr val="2921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grpSp>
            <p:nvGrpSpPr>
              <p:cNvPr id="9" name="组合 8"/>
              <p:cNvGrpSpPr/>
              <p:nvPr/>
            </p:nvGrpSpPr>
            <p:grpSpPr>
              <a:xfrm>
                <a:off x="6309221" y="788029"/>
                <a:ext cx="2825105" cy="2822453"/>
                <a:chOff x="2433048" y="1083945"/>
                <a:chExt cx="5333787" cy="5328780"/>
              </a:xfrm>
            </p:grpSpPr>
            <p:sp>
              <p:nvSpPr>
                <p:cNvPr id="10" name="十六角星 9"/>
                <p:cNvSpPr/>
                <p:nvPr/>
              </p:nvSpPr>
              <p:spPr>
                <a:xfrm>
                  <a:off x="2470676" y="1127265"/>
                  <a:ext cx="5254344" cy="5254344"/>
                </a:xfrm>
                <a:prstGeom prst="star16">
                  <a:avLst>
                    <a:gd name="adj" fmla="val 49459"/>
                  </a:avLst>
                </a:prstGeom>
                <a:noFill/>
                <a:ln w="6350">
                  <a:solidFill>
                    <a:srgbClr val="9D819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grpSp>
              <p:nvGrpSpPr>
                <p:cNvPr id="11" name="组合 10"/>
                <p:cNvGrpSpPr/>
                <p:nvPr/>
              </p:nvGrpSpPr>
              <p:grpSpPr>
                <a:xfrm>
                  <a:off x="2433048" y="1083945"/>
                  <a:ext cx="5333787" cy="5328780"/>
                  <a:chOff x="2280648" y="931545"/>
                  <a:chExt cx="5333787" cy="5328780"/>
                </a:xfrm>
              </p:grpSpPr>
              <p:sp>
                <p:nvSpPr>
                  <p:cNvPr id="48" name="椭圆 47"/>
                  <p:cNvSpPr/>
                  <p:nvPr/>
                </p:nvSpPr>
                <p:spPr>
                  <a:xfrm>
                    <a:off x="3903037" y="113166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49" name="椭圆 48"/>
                  <p:cNvSpPr/>
                  <p:nvPr/>
                </p:nvSpPr>
                <p:spPr>
                  <a:xfrm>
                    <a:off x="4916848" y="93154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0" name="椭圆 49"/>
                  <p:cNvSpPr/>
                  <p:nvPr/>
                </p:nvSpPr>
                <p:spPr>
                  <a:xfrm>
                    <a:off x="5937928" y="113116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1" name="椭圆 50"/>
                  <p:cNvSpPr/>
                  <p:nvPr/>
                </p:nvSpPr>
                <p:spPr>
                  <a:xfrm>
                    <a:off x="6763087" y="170149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2" name="椭圆 51"/>
                  <p:cNvSpPr/>
                  <p:nvPr/>
                </p:nvSpPr>
                <p:spPr>
                  <a:xfrm>
                    <a:off x="3057568" y="169725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3" name="椭圆 52"/>
                  <p:cNvSpPr/>
                  <p:nvPr/>
                </p:nvSpPr>
                <p:spPr>
                  <a:xfrm>
                    <a:off x="2481128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4" name="椭圆 53"/>
                  <p:cNvSpPr/>
                  <p:nvPr/>
                </p:nvSpPr>
                <p:spPr>
                  <a:xfrm>
                    <a:off x="7344374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5" name="椭圆 54"/>
                  <p:cNvSpPr/>
                  <p:nvPr/>
                </p:nvSpPr>
                <p:spPr>
                  <a:xfrm>
                    <a:off x="7542435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6" name="椭圆 55"/>
                  <p:cNvSpPr/>
                  <p:nvPr/>
                </p:nvSpPr>
                <p:spPr>
                  <a:xfrm>
                    <a:off x="2280648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7" name="椭圆 56"/>
                  <p:cNvSpPr/>
                  <p:nvPr/>
                </p:nvSpPr>
                <p:spPr>
                  <a:xfrm>
                    <a:off x="2499116" y="461641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8" name="椭圆 57"/>
                  <p:cNvSpPr/>
                  <p:nvPr/>
                </p:nvSpPr>
                <p:spPr>
                  <a:xfrm>
                    <a:off x="7321514" y="458973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9" name="椭圆 58"/>
                  <p:cNvSpPr/>
                  <p:nvPr/>
                </p:nvSpPr>
                <p:spPr>
                  <a:xfrm>
                    <a:off x="6772514" y="542670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0" name="椭圆 59"/>
                  <p:cNvSpPr/>
                  <p:nvPr/>
                </p:nvSpPr>
                <p:spPr>
                  <a:xfrm>
                    <a:off x="3057568" y="542246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1" name="椭圆 60"/>
                  <p:cNvSpPr/>
                  <p:nvPr/>
                </p:nvSpPr>
                <p:spPr>
                  <a:xfrm>
                    <a:off x="3903037" y="5981184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2" name="椭圆 61"/>
                  <p:cNvSpPr/>
                  <p:nvPr/>
                </p:nvSpPr>
                <p:spPr>
                  <a:xfrm>
                    <a:off x="5937928" y="598068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3" name="椭圆 62"/>
                  <p:cNvSpPr/>
                  <p:nvPr/>
                </p:nvSpPr>
                <p:spPr>
                  <a:xfrm>
                    <a:off x="4916848" y="618832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4" name="椭圆 63"/>
                  <p:cNvSpPr/>
                  <p:nvPr/>
                </p:nvSpPr>
                <p:spPr>
                  <a:xfrm>
                    <a:off x="4488353" y="265727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5" name="椭圆 64"/>
                  <p:cNvSpPr/>
                  <p:nvPr/>
                </p:nvSpPr>
                <p:spPr>
                  <a:xfrm>
                    <a:off x="3129568" y="2357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6" name="椭圆 65"/>
                  <p:cNvSpPr/>
                  <p:nvPr/>
                </p:nvSpPr>
                <p:spPr>
                  <a:xfrm>
                    <a:off x="6107323" y="2572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7" name="椭圆 66"/>
                  <p:cNvSpPr/>
                  <p:nvPr/>
                </p:nvSpPr>
                <p:spPr>
                  <a:xfrm>
                    <a:off x="5431118" y="154482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8" name="椭圆 67"/>
                  <p:cNvSpPr/>
                  <p:nvPr/>
                </p:nvSpPr>
                <p:spPr>
                  <a:xfrm>
                    <a:off x="3338442" y="486097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9" name="椭圆 68"/>
                  <p:cNvSpPr/>
                  <p:nvPr/>
                </p:nvSpPr>
                <p:spPr>
                  <a:xfrm>
                    <a:off x="4080450" y="349361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70" name="椭圆 69"/>
                  <p:cNvSpPr/>
                  <p:nvPr/>
                </p:nvSpPr>
                <p:spPr>
                  <a:xfrm>
                    <a:off x="5359118" y="568536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71" name="椭圆 70"/>
                  <p:cNvSpPr/>
                  <p:nvPr/>
                </p:nvSpPr>
                <p:spPr>
                  <a:xfrm>
                    <a:off x="6857155" y="346476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</p:grpSp>
            <p:cxnSp>
              <p:nvCxnSpPr>
                <p:cNvPr id="12" name="直接连接符 11"/>
                <p:cNvCxnSpPr>
                  <a:stCxn id="49" idx="4"/>
                  <a:endCxn id="67" idx="0"/>
                </p:cNvCxnSpPr>
                <p:nvPr/>
              </p:nvCxnSpPr>
              <p:spPr>
                <a:xfrm>
                  <a:off x="5105248" y="1155945"/>
                  <a:ext cx="514270" cy="5412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" name="直接连接符 12"/>
                <p:cNvCxnSpPr>
                  <a:stCxn id="48" idx="5"/>
                  <a:endCxn id="67" idx="2"/>
                </p:cNvCxnSpPr>
                <p:nvPr/>
              </p:nvCxnSpPr>
              <p:spPr>
                <a:xfrm>
                  <a:off x="4116893" y="1345521"/>
                  <a:ext cx="1466625" cy="38770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" name="直接连接符 13"/>
                <p:cNvCxnSpPr>
                  <a:stCxn id="65" idx="0"/>
                  <a:endCxn id="48" idx="4"/>
                </p:cNvCxnSpPr>
                <p:nvPr/>
              </p:nvCxnSpPr>
              <p:spPr>
                <a:xfrm flipV="1">
                  <a:off x="3317968" y="1356065"/>
                  <a:ext cx="773469" cy="1153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" name="直接连接符 14"/>
                <p:cNvCxnSpPr>
                  <a:stCxn id="70" idx="3"/>
                  <a:endCxn id="63" idx="0"/>
                </p:cNvCxnSpPr>
                <p:nvPr/>
              </p:nvCxnSpPr>
              <p:spPr>
                <a:xfrm flipH="1">
                  <a:off x="5105248" y="5899217"/>
                  <a:ext cx="416814" cy="44150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" name="直接连接符 15"/>
                <p:cNvCxnSpPr>
                  <a:stCxn id="53" idx="6"/>
                </p:cNvCxnSpPr>
                <p:nvPr/>
              </p:nvCxnSpPr>
              <p:spPr>
                <a:xfrm flipV="1">
                  <a:off x="2705528" y="2545627"/>
                  <a:ext cx="576440" cy="19911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" name="直接连接符 16"/>
                <p:cNvCxnSpPr>
                  <a:stCxn id="65" idx="6"/>
                  <a:endCxn id="64" idx="2"/>
                </p:cNvCxnSpPr>
                <p:nvPr/>
              </p:nvCxnSpPr>
              <p:spPr>
                <a:xfrm>
                  <a:off x="3353968" y="2545627"/>
                  <a:ext cx="1286785" cy="300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" name="直接连接符 17"/>
                <p:cNvCxnSpPr>
                  <a:stCxn id="64" idx="0"/>
                  <a:endCxn id="67" idx="4"/>
                </p:cNvCxnSpPr>
                <p:nvPr/>
              </p:nvCxnSpPr>
              <p:spPr>
                <a:xfrm flipV="1">
                  <a:off x="4676753" y="1769223"/>
                  <a:ext cx="942765" cy="104045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" name="直接连接符 18"/>
                <p:cNvCxnSpPr>
                  <a:stCxn id="56" idx="7"/>
                  <a:endCxn id="65" idx="3"/>
                </p:cNvCxnSpPr>
                <p:nvPr/>
              </p:nvCxnSpPr>
              <p:spPr>
                <a:xfrm flipV="1">
                  <a:off x="2494504" y="2571083"/>
                  <a:ext cx="798008" cy="113989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" name="直接连接符 19"/>
                <p:cNvCxnSpPr>
                  <a:stCxn id="65" idx="5"/>
                  <a:endCxn id="69" idx="1"/>
                </p:cNvCxnSpPr>
                <p:nvPr/>
              </p:nvCxnSpPr>
              <p:spPr>
                <a:xfrm>
                  <a:off x="3343424" y="2571083"/>
                  <a:ext cx="899970" cy="10854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" name="直接连接符 20"/>
                <p:cNvCxnSpPr>
                  <a:stCxn id="67" idx="7"/>
                  <a:endCxn id="50" idx="3"/>
                </p:cNvCxnSpPr>
                <p:nvPr/>
              </p:nvCxnSpPr>
              <p:spPr>
                <a:xfrm flipV="1">
                  <a:off x="5644974" y="1345025"/>
                  <a:ext cx="455898" cy="36274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" name="直接连接符 21"/>
                <p:cNvCxnSpPr>
                  <a:stCxn id="67" idx="6"/>
                  <a:endCxn id="51" idx="2"/>
                </p:cNvCxnSpPr>
                <p:nvPr/>
              </p:nvCxnSpPr>
              <p:spPr>
                <a:xfrm>
                  <a:off x="5655518" y="1733223"/>
                  <a:ext cx="1259969" cy="1566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" name="直接连接符 22"/>
                <p:cNvCxnSpPr>
                  <a:stCxn id="65" idx="7"/>
                  <a:endCxn id="67" idx="3"/>
                </p:cNvCxnSpPr>
                <p:nvPr/>
              </p:nvCxnSpPr>
              <p:spPr>
                <a:xfrm flipV="1">
                  <a:off x="3343424" y="1758679"/>
                  <a:ext cx="2250638" cy="761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" name="直接连接符 23"/>
                <p:cNvCxnSpPr>
                  <a:stCxn id="67" idx="5"/>
                  <a:endCxn id="66" idx="1"/>
                </p:cNvCxnSpPr>
                <p:nvPr/>
              </p:nvCxnSpPr>
              <p:spPr>
                <a:xfrm>
                  <a:off x="5644974" y="1758679"/>
                  <a:ext cx="625293" cy="976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" name="直接连接符 24"/>
                <p:cNvCxnSpPr>
                  <a:stCxn id="64" idx="6"/>
                  <a:endCxn id="66" idx="2"/>
                </p:cNvCxnSpPr>
                <p:nvPr/>
              </p:nvCxnSpPr>
              <p:spPr>
                <a:xfrm flipV="1">
                  <a:off x="4712753" y="2760627"/>
                  <a:ext cx="1546970" cy="85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" name="直接连接符 25"/>
                <p:cNvCxnSpPr>
                  <a:stCxn id="66" idx="3"/>
                  <a:endCxn id="70" idx="0"/>
                </p:cNvCxnSpPr>
                <p:nvPr/>
              </p:nvCxnSpPr>
              <p:spPr>
                <a:xfrm flipH="1">
                  <a:off x="5547518" y="2786083"/>
                  <a:ext cx="722749" cy="30516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" name="直接连接符 26"/>
                <p:cNvCxnSpPr>
                  <a:stCxn id="66" idx="0"/>
                  <a:endCxn id="51" idx="3"/>
                </p:cNvCxnSpPr>
                <p:nvPr/>
              </p:nvCxnSpPr>
              <p:spPr>
                <a:xfrm flipV="1">
                  <a:off x="6295723" y="1915353"/>
                  <a:ext cx="630308" cy="8092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" name="直接连接符 27"/>
                <p:cNvCxnSpPr>
                  <a:stCxn id="66" idx="5"/>
                  <a:endCxn id="71" idx="1"/>
                </p:cNvCxnSpPr>
                <p:nvPr/>
              </p:nvCxnSpPr>
              <p:spPr>
                <a:xfrm>
                  <a:off x="6321179" y="2786083"/>
                  <a:ext cx="698920" cy="84162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" name="直接连接符 28"/>
                <p:cNvCxnSpPr>
                  <a:stCxn id="71" idx="0"/>
                  <a:endCxn id="51" idx="4"/>
                </p:cNvCxnSpPr>
                <p:nvPr/>
              </p:nvCxnSpPr>
              <p:spPr>
                <a:xfrm flipH="1" flipV="1">
                  <a:off x="6951487" y="1925897"/>
                  <a:ext cx="94068" cy="169127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0" name="直接连接符 29"/>
                <p:cNvCxnSpPr>
                  <a:stCxn id="71" idx="7"/>
                  <a:endCxn id="54" idx="3"/>
                </p:cNvCxnSpPr>
                <p:nvPr/>
              </p:nvCxnSpPr>
              <p:spPr>
                <a:xfrm flipV="1">
                  <a:off x="7071011" y="2770197"/>
                  <a:ext cx="436307" cy="8575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1" name="直接连接符 30"/>
                <p:cNvCxnSpPr>
                  <a:stCxn id="58" idx="1"/>
                  <a:endCxn id="71" idx="5"/>
                </p:cNvCxnSpPr>
                <p:nvPr/>
              </p:nvCxnSpPr>
              <p:spPr>
                <a:xfrm flipH="1" flipV="1">
                  <a:off x="7071011" y="3678624"/>
                  <a:ext cx="413447" cy="107405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" name="直接连接符 31"/>
                <p:cNvCxnSpPr>
                  <a:stCxn id="64" idx="4"/>
                  <a:endCxn id="70" idx="1"/>
                </p:cNvCxnSpPr>
                <p:nvPr/>
              </p:nvCxnSpPr>
              <p:spPr>
                <a:xfrm>
                  <a:off x="4676753" y="2881677"/>
                  <a:ext cx="845309" cy="296662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" name="直接连接符 32"/>
                <p:cNvCxnSpPr>
                  <a:stCxn id="69" idx="5"/>
                  <a:endCxn id="70" idx="1"/>
                </p:cNvCxnSpPr>
                <p:nvPr/>
              </p:nvCxnSpPr>
              <p:spPr>
                <a:xfrm>
                  <a:off x="4294306" y="3707469"/>
                  <a:ext cx="1227756" cy="214083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" name="直接连接符 33"/>
                <p:cNvCxnSpPr>
                  <a:stCxn id="56" idx="5"/>
                  <a:endCxn id="68" idx="1"/>
                </p:cNvCxnSpPr>
                <p:nvPr/>
              </p:nvCxnSpPr>
              <p:spPr>
                <a:xfrm>
                  <a:off x="2494504" y="3761893"/>
                  <a:ext cx="1006882" cy="126202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5" name="直接连接符 34"/>
                <p:cNvCxnSpPr>
                  <a:stCxn id="68" idx="7"/>
                  <a:endCxn id="69" idx="2"/>
                </p:cNvCxnSpPr>
                <p:nvPr/>
              </p:nvCxnSpPr>
              <p:spPr>
                <a:xfrm flipV="1">
                  <a:off x="3552298" y="3682013"/>
                  <a:ext cx="680552" cy="134190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6" name="直接连接符 35"/>
                <p:cNvCxnSpPr>
                  <a:stCxn id="68" idx="0"/>
                  <a:endCxn id="65" idx="4"/>
                </p:cNvCxnSpPr>
                <p:nvPr/>
              </p:nvCxnSpPr>
              <p:spPr>
                <a:xfrm flipH="1" flipV="1">
                  <a:off x="3317968" y="2581627"/>
                  <a:ext cx="208874" cy="243174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" name="直接连接符 36"/>
                <p:cNvCxnSpPr>
                  <a:stCxn id="65" idx="1"/>
                  <a:endCxn id="52" idx="4"/>
                </p:cNvCxnSpPr>
                <p:nvPr/>
              </p:nvCxnSpPr>
              <p:spPr>
                <a:xfrm flipH="1" flipV="1">
                  <a:off x="3245968" y="1921650"/>
                  <a:ext cx="46544" cy="59852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" name="直接连接符 37"/>
                <p:cNvCxnSpPr>
                  <a:stCxn id="59" idx="0"/>
                  <a:endCxn id="71" idx="4"/>
                </p:cNvCxnSpPr>
                <p:nvPr/>
              </p:nvCxnSpPr>
              <p:spPr>
                <a:xfrm flipV="1">
                  <a:off x="6960914" y="3689168"/>
                  <a:ext cx="84641" cy="188994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9" name="直接连接符 38"/>
                <p:cNvCxnSpPr>
                  <a:stCxn id="71" idx="3"/>
                  <a:endCxn id="70" idx="7"/>
                </p:cNvCxnSpPr>
                <p:nvPr/>
              </p:nvCxnSpPr>
              <p:spPr>
                <a:xfrm flipH="1">
                  <a:off x="5572974" y="3678624"/>
                  <a:ext cx="1447125" cy="216968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0" name="直接连接符 39"/>
                <p:cNvCxnSpPr>
                  <a:stCxn id="70" idx="6"/>
                  <a:endCxn id="59" idx="2"/>
                </p:cNvCxnSpPr>
                <p:nvPr/>
              </p:nvCxnSpPr>
              <p:spPr>
                <a:xfrm flipV="1">
                  <a:off x="5583518" y="5615109"/>
                  <a:ext cx="1341396" cy="25865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1" name="直接连接符 40"/>
                <p:cNvCxnSpPr>
                  <a:stCxn id="70" idx="5"/>
                  <a:endCxn id="62" idx="1"/>
                </p:cNvCxnSpPr>
                <p:nvPr/>
              </p:nvCxnSpPr>
              <p:spPr>
                <a:xfrm>
                  <a:off x="5572974" y="5899217"/>
                  <a:ext cx="527898" cy="2444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2" name="直接连接符 41"/>
                <p:cNvCxnSpPr>
                  <a:stCxn id="69" idx="0"/>
                  <a:endCxn id="64" idx="3"/>
                </p:cNvCxnSpPr>
                <p:nvPr/>
              </p:nvCxnSpPr>
              <p:spPr>
                <a:xfrm flipV="1">
                  <a:off x="4268850" y="2871133"/>
                  <a:ext cx="382447" cy="77488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3" name="直接连接符 42"/>
                <p:cNvCxnSpPr>
                  <a:stCxn id="68" idx="6"/>
                  <a:endCxn id="70" idx="2"/>
                </p:cNvCxnSpPr>
                <p:nvPr/>
              </p:nvCxnSpPr>
              <p:spPr>
                <a:xfrm>
                  <a:off x="3562842" y="5049372"/>
                  <a:ext cx="1948676" cy="82438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4" name="直接连接符 43"/>
                <p:cNvCxnSpPr>
                  <a:stCxn id="57" idx="6"/>
                  <a:endCxn id="68" idx="2"/>
                </p:cNvCxnSpPr>
                <p:nvPr/>
              </p:nvCxnSpPr>
              <p:spPr>
                <a:xfrm>
                  <a:off x="2723516" y="4804810"/>
                  <a:ext cx="767326" cy="244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5" name="直接连接符 44"/>
                <p:cNvCxnSpPr>
                  <a:stCxn id="60" idx="7"/>
                  <a:endCxn id="68" idx="3"/>
                </p:cNvCxnSpPr>
                <p:nvPr/>
              </p:nvCxnSpPr>
              <p:spPr>
                <a:xfrm flipV="1">
                  <a:off x="3271424" y="5074828"/>
                  <a:ext cx="229962" cy="5105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6" name="直接连接符 45"/>
                <p:cNvCxnSpPr>
                  <a:stCxn id="61" idx="0"/>
                  <a:endCxn id="68" idx="5"/>
                </p:cNvCxnSpPr>
                <p:nvPr/>
              </p:nvCxnSpPr>
              <p:spPr>
                <a:xfrm flipH="1" flipV="1">
                  <a:off x="3552298" y="5074828"/>
                  <a:ext cx="539139" cy="105875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7" name="直接连接符 46"/>
                <p:cNvCxnSpPr>
                  <a:stCxn id="61" idx="7"/>
                  <a:endCxn id="70" idx="2"/>
                </p:cNvCxnSpPr>
                <p:nvPr/>
              </p:nvCxnSpPr>
              <p:spPr>
                <a:xfrm flipV="1">
                  <a:off x="4116893" y="5873761"/>
                  <a:ext cx="1394625" cy="270367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6" name="文本框 5"/>
            <p:cNvSpPr txBox="1"/>
            <p:nvPr/>
          </p:nvSpPr>
          <p:spPr>
            <a:xfrm>
              <a:off x="6610899" y="1009427"/>
              <a:ext cx="1107126" cy="10112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200" b="1" dirty="0">
                  <a:solidFill>
                    <a:schemeClr val="bg1"/>
                  </a:solidFill>
                  <a:latin typeface="方正兰亭粗黑简体" panose="02000000000000000000" pitchFamily="2" charset="-122"/>
                  <a:ea typeface="方正兰亭粗黑简体" panose="02000000000000000000" pitchFamily="2" charset="-122"/>
                </a:rPr>
                <a:t>3</a:t>
              </a:r>
              <a:endParaRPr lang="en-US" altLang="zh-CN" sz="825" b="1" dirty="0">
                <a:solidFill>
                  <a:schemeClr val="bg1"/>
                </a:solidFill>
                <a:latin typeface="方正兰亭粗黑简体" panose="02000000000000000000" pitchFamily="2" charset="-122"/>
                <a:ea typeface="方正兰亭粗黑简体" panose="02000000000000000000" pitchFamily="2" charset="-122"/>
              </a:endParaRPr>
            </a:p>
          </p:txBody>
        </p:sp>
        <p:sp>
          <p:nvSpPr>
            <p:cNvPr id="7" name="弧形 6"/>
            <p:cNvSpPr/>
            <p:nvPr/>
          </p:nvSpPr>
          <p:spPr>
            <a:xfrm rot="20705087">
              <a:off x="5896029" y="1413987"/>
              <a:ext cx="2542304" cy="475742"/>
            </a:xfrm>
            <a:prstGeom prst="arc">
              <a:avLst>
                <a:gd name="adj1" fmla="val 20946925"/>
                <a:gd name="adj2" fmla="val 11464655"/>
              </a:avLst>
            </a:prstGeom>
            <a:ln w="19050">
              <a:solidFill>
                <a:srgbClr val="9D819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</p:grpSp>
      <p:sp>
        <p:nvSpPr>
          <p:cNvPr id="72" name="文本框 71"/>
          <p:cNvSpPr txBox="1"/>
          <p:nvPr/>
        </p:nvSpPr>
        <p:spPr>
          <a:xfrm>
            <a:off x="1041984" y="517240"/>
            <a:ext cx="2104064" cy="4589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结构概述</a:t>
            </a:r>
            <a:endParaRPr lang="en-US" altLang="zh-CN" sz="75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3" name="直接连接符 1"/>
          <p:cNvSpPr/>
          <p:nvPr/>
        </p:nvSpPr>
        <p:spPr>
          <a:xfrm>
            <a:off x="3384550" y="2211388"/>
            <a:ext cx="0" cy="1944687"/>
          </a:xfrm>
          <a:prstGeom prst="line">
            <a:avLst/>
          </a:prstGeom>
          <a:ln w="9525" cap="flat" cmpd="sng">
            <a:solidFill>
              <a:schemeClr val="bg1"/>
            </a:solidFill>
            <a:prstDash val="solid"/>
            <a:bevel/>
            <a:headEnd type="none" w="med" len="med"/>
            <a:tailEnd type="none" w="med" len="med"/>
          </a:ln>
        </p:spPr>
      </p:sp>
      <p:sp>
        <p:nvSpPr>
          <p:cNvPr id="74" name="直接连接符 2"/>
          <p:cNvSpPr/>
          <p:nvPr/>
        </p:nvSpPr>
        <p:spPr>
          <a:xfrm>
            <a:off x="5759450" y="2211388"/>
            <a:ext cx="1588" cy="1944687"/>
          </a:xfrm>
          <a:prstGeom prst="line">
            <a:avLst/>
          </a:prstGeom>
          <a:ln w="9525" cap="flat" cmpd="sng">
            <a:solidFill>
              <a:schemeClr val="bg1"/>
            </a:solidFill>
            <a:prstDash val="solid"/>
            <a:bevel/>
            <a:headEnd type="none" w="med" len="med"/>
            <a:tailEnd type="none" w="med" len="med"/>
          </a:ln>
        </p:spPr>
      </p:sp>
      <p:grpSp>
        <p:nvGrpSpPr>
          <p:cNvPr id="75" name="组合 3"/>
          <p:cNvGrpSpPr/>
          <p:nvPr/>
        </p:nvGrpSpPr>
        <p:grpSpPr>
          <a:xfrm>
            <a:off x="6680200" y="1851025"/>
            <a:ext cx="536575" cy="538163"/>
            <a:chOff x="0" y="0"/>
            <a:chExt cx="1410703" cy="1410703"/>
          </a:xfrm>
        </p:grpSpPr>
        <p:grpSp>
          <p:nvGrpSpPr>
            <p:cNvPr id="76" name="组合 4"/>
            <p:cNvGrpSpPr/>
            <p:nvPr/>
          </p:nvGrpSpPr>
          <p:grpSpPr>
            <a:xfrm>
              <a:off x="0" y="0"/>
              <a:ext cx="1410703" cy="1410703"/>
              <a:chOff x="0" y="0"/>
              <a:chExt cx="1410703" cy="1410703"/>
            </a:xfrm>
          </p:grpSpPr>
          <p:sp>
            <p:nvSpPr>
              <p:cNvPr id="78" name="圆角矩形 6"/>
              <p:cNvSpPr/>
              <p:nvPr/>
            </p:nvSpPr>
            <p:spPr>
              <a:xfrm>
                <a:off x="0" y="0"/>
                <a:ext cx="1410703" cy="1410703"/>
              </a:xfrm>
              <a:prstGeom prst="roundRect">
                <a:avLst>
                  <a:gd name="adj" fmla="val 16667"/>
                </a:avLst>
              </a:prstGeom>
              <a:solidFill>
                <a:srgbClr val="FFFFFF">
                  <a:alpha val="50195"/>
                </a:srgbClr>
              </a:solidFill>
              <a:ln w="25400">
                <a:noFill/>
              </a:ln>
            </p:spPr>
            <p:txBody>
              <a:bodyPr anchor="ctr"/>
              <a:lstStyle>
                <a:lvl1pPr marL="342900" indent="-34290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  <a:sym typeface="微软雅黑" panose="020B0503020204020204" pitchFamily="34" charset="-122"/>
                  </a:defRPr>
                </a:lvl1pPr>
                <a:lvl2pPr marL="742950" indent="-28575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+mn-lt"/>
                    <a:ea typeface="+mn-ea"/>
                    <a:sym typeface="微软雅黑" panose="020B0503020204020204" pitchFamily="34" charset="-122"/>
                  </a:defRPr>
                </a:lvl2pPr>
                <a:lvl3pPr marL="1143000" indent="-22860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+mn-lt"/>
                    <a:ea typeface="+mn-ea"/>
                    <a:sym typeface="微软雅黑" panose="020B0503020204020204" pitchFamily="34" charset="-122"/>
                  </a:defRPr>
                </a:lvl3pPr>
                <a:lvl4pPr marL="1600200" indent="-22860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+mn-lt"/>
                    <a:ea typeface="+mn-ea"/>
                    <a:sym typeface="微软雅黑" panose="020B0503020204020204" pitchFamily="34" charset="-122"/>
                  </a:defRPr>
                </a:lvl4pPr>
                <a:lvl5pPr marL="2057400" indent="-22860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+mn-lt"/>
                    <a:ea typeface="+mn-ea"/>
                    <a:sym typeface="微软雅黑" panose="020B0503020204020204" pitchFamily="34" charset="-122"/>
                  </a:defRPr>
                </a:lvl5pPr>
              </a:lstStyle>
              <a:p>
                <a:pPr marL="0" lvl="0" indent="0" algn="ctr" eaLnBrk="1" hangingPunct="1">
                  <a:spcBef>
                    <a:spcPct val="0"/>
                  </a:spcBef>
                  <a:buNone/>
                </a:pPr>
                <a:endParaRPr lang="zh-CN" altLang="zh-CN" sz="1800" dirty="0">
                  <a:solidFill>
                    <a:srgbClr val="00CC99"/>
                  </a:solidFill>
                  <a:latin typeface="Arial" panose="020B0604020202020204" pitchFamily="34" charset="0"/>
                  <a:ea typeface="宋体" panose="02010600030101010101" pitchFamily="2" charset="-122"/>
                </a:endParaRPr>
              </a:p>
            </p:txBody>
          </p:sp>
          <p:sp>
            <p:nvSpPr>
              <p:cNvPr id="79" name="圆角矩形 3"/>
              <p:cNvSpPr/>
              <p:nvPr/>
            </p:nvSpPr>
            <p:spPr>
              <a:xfrm>
                <a:off x="237219" y="399625"/>
                <a:ext cx="1173484" cy="1011077"/>
              </a:xfrm>
              <a:custGeom>
                <a:avLst/>
                <a:gdLst>
                  <a:gd name="txL" fmla="*/ 0 w 2635572"/>
                  <a:gd name="txT" fmla="*/ 0 h 2270816"/>
                  <a:gd name="txR" fmla="*/ 2635572 w 2635572"/>
                  <a:gd name="txB" fmla="*/ 2270816 h 2270816"/>
                </a:gdLst>
                <a:ahLst/>
                <a:cxnLst>
                  <a:cxn ang="0">
                    <a:pos x="15659" y="21176"/>
                  </a:cxn>
                  <a:cxn ang="0">
                    <a:pos x="15789" y="13686"/>
                  </a:cxn>
                  <a:cxn ang="0">
                    <a:pos x="26111" y="7983"/>
                  </a:cxn>
                  <a:cxn ang="0">
                    <a:pos x="34916" y="9903"/>
                  </a:cxn>
                  <a:cxn ang="0">
                    <a:pos x="44585" y="2126"/>
                  </a:cxn>
                  <a:cxn ang="0">
                    <a:pos x="58466" y="788"/>
                  </a:cxn>
                  <a:cxn ang="0">
                    <a:pos x="70016" y="0"/>
                  </a:cxn>
                  <a:cxn ang="0">
                    <a:pos x="103391" y="25149"/>
                  </a:cxn>
                  <a:cxn ang="0">
                    <a:pos x="103582" y="68493"/>
                  </a:cxn>
                  <a:cxn ang="0">
                    <a:pos x="82828" y="89246"/>
                  </a:cxn>
                  <a:cxn ang="0">
                    <a:pos x="44098" y="89246"/>
                  </a:cxn>
                  <a:cxn ang="0">
                    <a:pos x="0" y="57119"/>
                  </a:cxn>
                  <a:cxn ang="0">
                    <a:pos x="17471" y="47527"/>
                  </a:cxn>
                  <a:cxn ang="0">
                    <a:pos x="8791" y="49963"/>
                  </a:cxn>
                  <a:cxn ang="0">
                    <a:pos x="25892" y="29141"/>
                  </a:cxn>
                  <a:cxn ang="0">
                    <a:pos x="15659" y="21176"/>
                  </a:cxn>
                </a:cxnLst>
                <a:rect l="txL" t="txT" r="txR" b="txB"/>
                <a:pathLst>
                  <a:path w="2635572" h="2270816">
                    <a:moveTo>
                      <a:pt x="398427" y="538812"/>
                    </a:moveTo>
                    <a:cubicBezTo>
                      <a:pt x="399534" y="475286"/>
                      <a:pt x="400640" y="411761"/>
                      <a:pt x="401747" y="348235"/>
                    </a:cubicBezTo>
                    <a:lnTo>
                      <a:pt x="664373" y="203127"/>
                    </a:lnTo>
                    <a:lnTo>
                      <a:pt x="888428" y="251970"/>
                    </a:lnTo>
                    <a:lnTo>
                      <a:pt x="1134441" y="54087"/>
                    </a:lnTo>
                    <a:lnTo>
                      <a:pt x="1487619" y="20043"/>
                    </a:lnTo>
                    <a:lnTo>
                      <a:pt x="1781496" y="0"/>
                    </a:lnTo>
                    <a:lnTo>
                      <a:pt x="2630705" y="639890"/>
                    </a:lnTo>
                    <a:cubicBezTo>
                      <a:pt x="2632327" y="1000378"/>
                      <a:pt x="2633950" y="1382259"/>
                      <a:pt x="2635572" y="1742747"/>
                    </a:cubicBezTo>
                    <a:cubicBezTo>
                      <a:pt x="2635572" y="2034391"/>
                      <a:pt x="2399147" y="2270816"/>
                      <a:pt x="2107503" y="2270816"/>
                    </a:cubicBezTo>
                    <a:lnTo>
                      <a:pt x="1122046" y="2270816"/>
                    </a:lnTo>
                    <a:lnTo>
                      <a:pt x="0" y="1453355"/>
                    </a:lnTo>
                    <a:lnTo>
                      <a:pt x="444529" y="1209287"/>
                    </a:lnTo>
                    <a:lnTo>
                      <a:pt x="223697" y="1271277"/>
                    </a:lnTo>
                    <a:lnTo>
                      <a:pt x="658799" y="741472"/>
                    </a:lnTo>
                    <a:lnTo>
                      <a:pt x="398427" y="538812"/>
                    </a:lnTo>
                    <a:close/>
                  </a:path>
                </a:pathLst>
              </a:custGeom>
              <a:solidFill>
                <a:srgbClr val="FFFFFF">
                  <a:alpha val="29803"/>
                </a:srgbClr>
              </a:solidFill>
              <a:ln w="25400">
                <a:noFill/>
              </a:ln>
            </p:spPr>
            <p:txBody>
              <a:bodyPr/>
              <a:lstStyle/>
              <a:p>
                <a:endParaRPr lang="zh-CN" altLang="en-US"/>
              </a:p>
            </p:txBody>
          </p:sp>
        </p:grpSp>
        <p:sp useBgFill="1">
          <p:nvSpPr>
            <p:cNvPr id="77" name="圆角矩形 68"/>
            <p:cNvSpPr>
              <a:spLocks noChangeAspect="1"/>
            </p:cNvSpPr>
            <p:nvPr/>
          </p:nvSpPr>
          <p:spPr>
            <a:xfrm flipH="1">
              <a:off x="140429" y="353877"/>
              <a:ext cx="1129844" cy="702949"/>
            </a:xfrm>
            <a:custGeom>
              <a:avLst/>
              <a:gdLst>
                <a:gd name="txL" fmla="*/ 0 w 2534777"/>
                <a:gd name="txT" fmla="*/ 0 h 1577043"/>
                <a:gd name="txR" fmla="*/ 2534777 w 2534777"/>
                <a:gd name="txB" fmla="*/ 1577043 h 1577043"/>
              </a:gdLst>
              <a:ahLst/>
              <a:cxnLst>
                <a:cxn ang="0">
                  <a:pos x="129775" y="40511"/>
                </a:cxn>
                <a:cxn ang="0">
                  <a:pos x="88342" y="81945"/>
                </a:cxn>
                <a:cxn ang="0">
                  <a:pos x="88442" y="82946"/>
                </a:cxn>
                <a:cxn ang="0">
                  <a:pos x="70584" y="110068"/>
                </a:cxn>
                <a:cxn ang="0">
                  <a:pos x="100179" y="139664"/>
                </a:cxn>
                <a:cxn ang="0">
                  <a:pos x="194884" y="139664"/>
                </a:cxn>
                <a:cxn ang="0">
                  <a:pos x="224479" y="110068"/>
                </a:cxn>
                <a:cxn ang="0">
                  <a:pos x="205554" y="82535"/>
                </a:cxn>
                <a:cxn ang="0">
                  <a:pos x="205970" y="80473"/>
                </a:cxn>
                <a:cxn ang="0">
                  <a:pos x="182294" y="56797"/>
                </a:cxn>
                <a:cxn ang="0">
                  <a:pos x="166481" y="63105"/>
                </a:cxn>
                <a:cxn ang="0">
                  <a:pos x="129775" y="40511"/>
                </a:cxn>
                <a:cxn ang="0">
                  <a:pos x="77613" y="0"/>
                </a:cxn>
                <a:cxn ang="0">
                  <a:pos x="23284" y="54329"/>
                </a:cxn>
                <a:cxn ang="0">
                  <a:pos x="23416" y="55641"/>
                </a:cxn>
                <a:cxn ang="0">
                  <a:pos x="0" y="91206"/>
                </a:cxn>
                <a:cxn ang="0">
                  <a:pos x="38806" y="130012"/>
                </a:cxn>
                <a:cxn ang="0">
                  <a:pos x="70633" y="130012"/>
                </a:cxn>
                <a:cxn ang="0">
                  <a:pos x="65403" y="120522"/>
                </a:cxn>
                <a:cxn ang="0">
                  <a:pos x="58216" y="120522"/>
                </a:cxn>
                <a:cxn ang="0">
                  <a:pos x="27142" y="89448"/>
                </a:cxn>
                <a:cxn ang="0">
                  <a:pos x="45893" y="60970"/>
                </a:cxn>
                <a:cxn ang="0">
                  <a:pos x="45787" y="59920"/>
                </a:cxn>
                <a:cxn ang="0">
                  <a:pos x="89290" y="16416"/>
                </a:cxn>
                <a:cxn ang="0">
                  <a:pos x="124247" y="34309"/>
                </a:cxn>
                <a:cxn ang="0">
                  <a:pos x="128208" y="33910"/>
                </a:cxn>
                <a:cxn ang="0">
                  <a:pos x="136799" y="34826"/>
                </a:cxn>
                <a:cxn ang="0">
                  <a:pos x="144433" y="33515"/>
                </a:cxn>
                <a:cxn ang="0">
                  <a:pos x="169244" y="57892"/>
                </a:cxn>
                <a:cxn ang="0">
                  <a:pos x="177365" y="53174"/>
                </a:cxn>
                <a:cxn ang="0">
                  <a:pos x="177522" y="52399"/>
                </a:cxn>
                <a:cxn ang="0">
                  <a:pos x="146477" y="21354"/>
                </a:cxn>
                <a:cxn ang="0">
                  <a:pos x="125742" y="29626"/>
                </a:cxn>
                <a:cxn ang="0">
                  <a:pos x="77613" y="0"/>
                </a:cxn>
              </a:cxnLst>
              <a:rect l="txL" t="txT" r="txR" b="txB"/>
              <a:pathLst>
                <a:path w="2534777" h="1577043">
                  <a:moveTo>
                    <a:pt x="1465394" y="457443"/>
                  </a:moveTo>
                  <a:cubicBezTo>
                    <a:pt x="1207004" y="457443"/>
                    <a:pt x="997537" y="666911"/>
                    <a:pt x="997537" y="925301"/>
                  </a:cubicBezTo>
                  <a:cubicBezTo>
                    <a:pt x="997537" y="929084"/>
                    <a:pt x="997581" y="932858"/>
                    <a:pt x="998675" y="936595"/>
                  </a:cubicBezTo>
                  <a:cubicBezTo>
                    <a:pt x="879937" y="987444"/>
                    <a:pt x="797027" y="1105469"/>
                    <a:pt x="797027" y="1242860"/>
                  </a:cubicBezTo>
                  <a:cubicBezTo>
                    <a:pt x="797027" y="1427423"/>
                    <a:pt x="946647" y="1577043"/>
                    <a:pt x="1131210" y="1577043"/>
                  </a:cubicBezTo>
                  <a:lnTo>
                    <a:pt x="2200595" y="1577043"/>
                  </a:lnTo>
                  <a:cubicBezTo>
                    <a:pt x="2385158" y="1577043"/>
                    <a:pt x="2534777" y="1427423"/>
                    <a:pt x="2534777" y="1242860"/>
                  </a:cubicBezTo>
                  <a:cubicBezTo>
                    <a:pt x="2534777" y="1100889"/>
                    <a:pt x="2446245" y="979593"/>
                    <a:pt x="2321074" y="931958"/>
                  </a:cubicBezTo>
                  <a:lnTo>
                    <a:pt x="2325772" y="908676"/>
                  </a:lnTo>
                  <a:cubicBezTo>
                    <a:pt x="2325772" y="761025"/>
                    <a:pt x="2206078" y="641330"/>
                    <a:pt x="2058426" y="641330"/>
                  </a:cubicBezTo>
                  <a:cubicBezTo>
                    <a:pt x="1989101" y="641330"/>
                    <a:pt x="1925937" y="667718"/>
                    <a:pt x="1879867" y="712568"/>
                  </a:cubicBezTo>
                  <a:cubicBezTo>
                    <a:pt x="1804227" y="560778"/>
                    <a:pt x="1646877" y="457443"/>
                    <a:pt x="1465394" y="457443"/>
                  </a:cubicBezTo>
                  <a:close/>
                  <a:moveTo>
                    <a:pt x="876386" y="0"/>
                  </a:moveTo>
                  <a:cubicBezTo>
                    <a:pt x="537576" y="0"/>
                    <a:pt x="262915" y="274661"/>
                    <a:pt x="262915" y="613471"/>
                  </a:cubicBezTo>
                  <a:cubicBezTo>
                    <a:pt x="262915" y="618431"/>
                    <a:pt x="262973" y="623380"/>
                    <a:pt x="264408" y="628281"/>
                  </a:cubicBezTo>
                  <a:cubicBezTo>
                    <a:pt x="108715" y="694956"/>
                    <a:pt x="0" y="849714"/>
                    <a:pt x="0" y="1029866"/>
                  </a:cubicBezTo>
                  <a:cubicBezTo>
                    <a:pt x="0" y="1271872"/>
                    <a:pt x="196187" y="1468058"/>
                    <a:pt x="438192" y="1468058"/>
                  </a:cubicBezTo>
                  <a:lnTo>
                    <a:pt x="797580" y="1468058"/>
                  </a:lnTo>
                  <a:cubicBezTo>
                    <a:pt x="770868" y="1437112"/>
                    <a:pt x="750667" y="1400796"/>
                    <a:pt x="738512" y="1360901"/>
                  </a:cubicBezTo>
                  <a:lnTo>
                    <a:pt x="657367" y="1360901"/>
                  </a:lnTo>
                  <a:cubicBezTo>
                    <a:pt x="463583" y="1360901"/>
                    <a:pt x="306487" y="1203806"/>
                    <a:pt x="306487" y="1010021"/>
                  </a:cubicBezTo>
                  <a:cubicBezTo>
                    <a:pt x="306487" y="865765"/>
                    <a:pt x="393540" y="741844"/>
                    <a:pt x="518211" y="688454"/>
                  </a:cubicBezTo>
                  <a:cubicBezTo>
                    <a:pt x="517061" y="684530"/>
                    <a:pt x="517015" y="680567"/>
                    <a:pt x="517015" y="676596"/>
                  </a:cubicBezTo>
                  <a:cubicBezTo>
                    <a:pt x="517015" y="405295"/>
                    <a:pt x="736949" y="185362"/>
                    <a:pt x="1008249" y="185362"/>
                  </a:cubicBezTo>
                  <a:cubicBezTo>
                    <a:pt x="1171061" y="185362"/>
                    <a:pt x="1315374" y="264570"/>
                    <a:pt x="1402972" y="387409"/>
                  </a:cubicBezTo>
                  <a:cubicBezTo>
                    <a:pt x="1417561" y="383558"/>
                    <a:pt x="1432554" y="382900"/>
                    <a:pt x="1447701" y="382900"/>
                  </a:cubicBezTo>
                  <a:cubicBezTo>
                    <a:pt x="1480947" y="382900"/>
                    <a:pt x="1513452" y="386072"/>
                    <a:pt x="1544707" y="393247"/>
                  </a:cubicBezTo>
                  <a:cubicBezTo>
                    <a:pt x="1571543" y="383219"/>
                    <a:pt x="1600669" y="378436"/>
                    <a:pt x="1630912" y="378436"/>
                  </a:cubicBezTo>
                  <a:cubicBezTo>
                    <a:pt x="1784119" y="378436"/>
                    <a:pt x="1908658" y="501175"/>
                    <a:pt x="1911067" y="653695"/>
                  </a:cubicBezTo>
                  <a:cubicBezTo>
                    <a:pt x="1937034" y="629476"/>
                    <a:pt x="1968219" y="611266"/>
                    <a:pt x="2002778" y="600430"/>
                  </a:cubicBezTo>
                  <a:lnTo>
                    <a:pt x="2004545" y="591672"/>
                  </a:lnTo>
                  <a:cubicBezTo>
                    <a:pt x="2004545" y="398068"/>
                    <a:pt x="1847598" y="241118"/>
                    <a:pt x="1653991" y="241118"/>
                  </a:cubicBezTo>
                  <a:cubicBezTo>
                    <a:pt x="1563090" y="241118"/>
                    <a:pt x="1480267" y="275719"/>
                    <a:pt x="1419859" y="334529"/>
                  </a:cubicBezTo>
                  <a:cubicBezTo>
                    <a:pt x="1320676" y="135496"/>
                    <a:pt x="1114354" y="0"/>
                    <a:pt x="876386" y="0"/>
                  </a:cubicBezTo>
                  <a:close/>
                </a:path>
              </a:pathLst>
            </a:custGeom>
            <a:ln w="25400">
              <a:noFill/>
            </a:ln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80" name="组合 8"/>
          <p:cNvGrpSpPr/>
          <p:nvPr/>
        </p:nvGrpSpPr>
        <p:grpSpPr>
          <a:xfrm>
            <a:off x="1927225" y="1851025"/>
            <a:ext cx="536575" cy="538163"/>
            <a:chOff x="0" y="0"/>
            <a:chExt cx="1410703" cy="1410703"/>
          </a:xfrm>
        </p:grpSpPr>
        <p:sp>
          <p:nvSpPr>
            <p:cNvPr id="81" name="圆角矩形 9"/>
            <p:cNvSpPr/>
            <p:nvPr/>
          </p:nvSpPr>
          <p:spPr>
            <a:xfrm>
              <a:off x="0" y="0"/>
              <a:ext cx="1410703" cy="1410703"/>
            </a:xfrm>
            <a:prstGeom prst="roundRect">
              <a:avLst>
                <a:gd name="adj" fmla="val 16667"/>
              </a:avLst>
            </a:prstGeom>
            <a:solidFill>
              <a:srgbClr val="FFFFFF">
                <a:alpha val="50195"/>
              </a:srgbClr>
            </a:solidFill>
            <a:ln w="25400">
              <a:noFill/>
            </a:ln>
          </p:spPr>
          <p:txBody>
            <a:bodyPr anchor="ctr"/>
            <a:lstStyle>
              <a:lvl1pPr marL="342900" indent="-342900" algn="l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微软雅黑" panose="020B0503020204020204" pitchFamily="34" charset="-122"/>
                </a:defRPr>
              </a:lvl1pPr>
              <a:lvl2pPr marL="742950" indent="-285750" algn="l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+mn-lt"/>
                  <a:ea typeface="+mn-ea"/>
                  <a:sym typeface="微软雅黑" panose="020B0503020204020204" pitchFamily="34" charset="-122"/>
                </a:defRPr>
              </a:lvl2pPr>
              <a:lvl3pPr marL="1143000" indent="-228600" algn="l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+mn-lt"/>
                  <a:ea typeface="+mn-ea"/>
                  <a:sym typeface="微软雅黑" panose="020B0503020204020204" pitchFamily="34" charset="-122"/>
                </a:defRPr>
              </a:lvl3pPr>
              <a:lvl4pPr marL="1600200" indent="-228600" algn="l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+mn-lt"/>
                  <a:ea typeface="+mn-ea"/>
                  <a:sym typeface="微软雅黑" panose="020B0503020204020204" pitchFamily="34" charset="-122"/>
                </a:defRPr>
              </a:lvl4pPr>
              <a:lvl5pPr marL="2057400" indent="-228600" algn="l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+mn-lt"/>
                  <a:ea typeface="+mn-ea"/>
                  <a:sym typeface="微软雅黑" panose="020B0503020204020204" pitchFamily="34" charset="-122"/>
                </a:defRPr>
              </a:lvl5pPr>
            </a:lstStyle>
            <a:p>
              <a:pPr marL="0" lvl="0" indent="0" algn="ctr" eaLnBrk="1" hangingPunct="1">
                <a:spcBef>
                  <a:spcPct val="0"/>
                </a:spcBef>
                <a:buNone/>
              </a:pPr>
              <a:endParaRPr lang="zh-CN" altLang="zh-CN" sz="1800" dirty="0">
                <a:solidFill>
                  <a:srgbClr val="00CC99"/>
                </a:solidFill>
                <a:latin typeface="Arial" panose="020B0604020202020204" pitchFamily="34" charset="0"/>
                <a:ea typeface="宋体" panose="02010600030101010101" pitchFamily="2" charset="-122"/>
              </a:endParaRPr>
            </a:p>
          </p:txBody>
        </p:sp>
        <p:sp>
          <p:nvSpPr>
            <p:cNvPr id="82" name="任意多边形 10"/>
            <p:cNvSpPr/>
            <p:nvPr/>
          </p:nvSpPr>
          <p:spPr>
            <a:xfrm>
              <a:off x="277851" y="328174"/>
              <a:ext cx="1132851" cy="1082529"/>
            </a:xfrm>
            <a:custGeom>
              <a:avLst/>
              <a:gdLst>
                <a:gd name="txL" fmla="*/ 0 w 2544311"/>
                <a:gd name="txT" fmla="*/ 0 h 2431293"/>
                <a:gd name="txR" fmla="*/ 2544311 w 2544311"/>
                <a:gd name="txB" fmla="*/ 2431293 h 2431293"/>
              </a:gdLst>
              <a:ahLst/>
              <a:cxnLst>
                <a:cxn ang="0">
                  <a:pos x="74891" y="0"/>
                </a:cxn>
                <a:cxn ang="0">
                  <a:pos x="99995" y="23173"/>
                </a:cxn>
                <a:cxn ang="0">
                  <a:pos x="99995" y="74799"/>
                </a:cxn>
                <a:cxn ang="0">
                  <a:pos x="79242" y="95553"/>
                </a:cxn>
                <a:cxn ang="0">
                  <a:pos x="35611" y="95553"/>
                </a:cxn>
                <a:cxn ang="0">
                  <a:pos x="9" y="66393"/>
                </a:cxn>
                <a:cxn ang="0">
                  <a:pos x="13258" y="57437"/>
                </a:cxn>
                <a:cxn ang="0">
                  <a:pos x="16389" y="53034"/>
                </a:cxn>
                <a:cxn ang="0">
                  <a:pos x="630" y="42339"/>
                </a:cxn>
                <a:cxn ang="0">
                  <a:pos x="14418" y="40937"/>
                </a:cxn>
                <a:cxn ang="0">
                  <a:pos x="2352" y="26261"/>
                </a:cxn>
                <a:cxn ang="0">
                  <a:pos x="12821" y="27416"/>
                </a:cxn>
                <a:cxn ang="0">
                  <a:pos x="0" y="18167"/>
                </a:cxn>
                <a:cxn ang="0">
                  <a:pos x="20496" y="8974"/>
                </a:cxn>
                <a:cxn ang="0">
                  <a:pos x="74891" y="0"/>
                </a:cxn>
              </a:cxnLst>
              <a:rect l="txL" t="txT" r="txR" b="txB"/>
              <a:pathLst>
                <a:path w="2544311" h="2431293">
                  <a:moveTo>
                    <a:pt x="1905551" y="0"/>
                  </a:moveTo>
                  <a:lnTo>
                    <a:pt x="2544311" y="589638"/>
                  </a:lnTo>
                  <a:lnTo>
                    <a:pt x="2544311" y="1903224"/>
                  </a:lnTo>
                  <a:cubicBezTo>
                    <a:pt x="2544311" y="2194868"/>
                    <a:pt x="2307886" y="2431293"/>
                    <a:pt x="2016242" y="2431293"/>
                  </a:cubicBezTo>
                  <a:lnTo>
                    <a:pt x="906105" y="2431293"/>
                  </a:lnTo>
                  <a:lnTo>
                    <a:pt x="236" y="1689332"/>
                  </a:lnTo>
                  <a:lnTo>
                    <a:pt x="337329" y="1461434"/>
                  </a:lnTo>
                  <a:lnTo>
                    <a:pt x="416998" y="1349404"/>
                  </a:lnTo>
                  <a:cubicBezTo>
                    <a:pt x="422398" y="1349618"/>
                    <a:pt x="10643" y="1077077"/>
                    <a:pt x="16043" y="1077291"/>
                  </a:cubicBezTo>
                  <a:lnTo>
                    <a:pt x="366874" y="1041623"/>
                  </a:lnTo>
                  <a:lnTo>
                    <a:pt x="59845" y="668194"/>
                  </a:lnTo>
                  <a:lnTo>
                    <a:pt x="326236" y="697575"/>
                  </a:lnTo>
                  <a:lnTo>
                    <a:pt x="0" y="462254"/>
                  </a:lnTo>
                  <a:lnTo>
                    <a:pt x="521498" y="228332"/>
                  </a:lnTo>
                  <a:lnTo>
                    <a:pt x="1905551" y="0"/>
                  </a:lnTo>
                  <a:close/>
                </a:path>
              </a:pathLst>
            </a:custGeom>
            <a:solidFill>
              <a:srgbClr val="FFFFFF">
                <a:alpha val="29803"/>
              </a:srgbClr>
            </a:solidFill>
            <a:ln w="25400"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 useBgFill="1">
          <p:nvSpPr>
            <p:cNvPr id="83" name="矩形 60"/>
            <p:cNvSpPr/>
            <p:nvPr/>
          </p:nvSpPr>
          <p:spPr>
            <a:xfrm>
              <a:off x="279906" y="325645"/>
              <a:ext cx="850891" cy="759413"/>
            </a:xfrm>
            <a:custGeom>
              <a:avLst/>
              <a:gdLst>
                <a:gd name="txL" fmla="*/ 0 w 816827"/>
                <a:gd name="txT" fmla="*/ 0 h 729011"/>
                <a:gd name="txR" fmla="*/ 816827 w 816827"/>
                <a:gd name="txB" fmla="*/ 729011 h 729011"/>
              </a:gdLst>
              <a:ahLst/>
              <a:cxnLst>
                <a:cxn ang="0">
                  <a:pos x="461670" y="664951"/>
                </a:cxn>
                <a:cxn ang="0">
                  <a:pos x="461670" y="758449"/>
                </a:cxn>
                <a:cxn ang="0">
                  <a:pos x="851537" y="758449"/>
                </a:cxn>
                <a:cxn ang="0">
                  <a:pos x="851537" y="664951"/>
                </a:cxn>
                <a:cxn ang="0">
                  <a:pos x="461670" y="664951"/>
                </a:cxn>
                <a:cxn ang="0">
                  <a:pos x="0" y="599327"/>
                </a:cxn>
                <a:cxn ang="0">
                  <a:pos x="923340" y="599327"/>
                </a:cxn>
                <a:cxn ang="0">
                  <a:pos x="923340" y="824074"/>
                </a:cxn>
                <a:cxn ang="0">
                  <a:pos x="0" y="824074"/>
                </a:cxn>
                <a:cxn ang="0">
                  <a:pos x="0" y="599327"/>
                </a:cxn>
                <a:cxn ang="0">
                  <a:pos x="189764" y="365287"/>
                </a:cxn>
                <a:cxn ang="0">
                  <a:pos x="189764" y="458787"/>
                </a:cxn>
                <a:cxn ang="0">
                  <a:pos x="851536" y="458787"/>
                </a:cxn>
                <a:cxn ang="0">
                  <a:pos x="851536" y="365287"/>
                </a:cxn>
                <a:cxn ang="0">
                  <a:pos x="189764" y="365287"/>
                </a:cxn>
                <a:cxn ang="0">
                  <a:pos x="0" y="299663"/>
                </a:cxn>
                <a:cxn ang="0">
                  <a:pos x="923340" y="299663"/>
                </a:cxn>
                <a:cxn ang="0">
                  <a:pos x="923340" y="524411"/>
                </a:cxn>
                <a:cxn ang="0">
                  <a:pos x="0" y="524411"/>
                </a:cxn>
                <a:cxn ang="0">
                  <a:pos x="0" y="299663"/>
                </a:cxn>
                <a:cxn ang="0">
                  <a:pos x="564252" y="65624"/>
                </a:cxn>
                <a:cxn ang="0">
                  <a:pos x="564252" y="159122"/>
                </a:cxn>
                <a:cxn ang="0">
                  <a:pos x="851536" y="159122"/>
                </a:cxn>
                <a:cxn ang="0">
                  <a:pos x="851536" y="65624"/>
                </a:cxn>
                <a:cxn ang="0">
                  <a:pos x="564252" y="65624"/>
                </a:cxn>
                <a:cxn ang="0">
                  <a:pos x="0" y="0"/>
                </a:cxn>
                <a:cxn ang="0">
                  <a:pos x="923340" y="0"/>
                </a:cxn>
                <a:cxn ang="0">
                  <a:pos x="923340" y="224746"/>
                </a:cxn>
                <a:cxn ang="0">
                  <a:pos x="0" y="224746"/>
                </a:cxn>
                <a:cxn ang="0">
                  <a:pos x="0" y="0"/>
                </a:cxn>
              </a:cxnLst>
              <a:rect l="txL" t="txT" r="txR" b="txB"/>
              <a:pathLst>
                <a:path w="816827" h="729011">
                  <a:moveTo>
                    <a:pt x="408414" y="588244"/>
                  </a:moveTo>
                  <a:lnTo>
                    <a:pt x="408414" y="670957"/>
                  </a:lnTo>
                  <a:lnTo>
                    <a:pt x="753307" y="670957"/>
                  </a:lnTo>
                  <a:lnTo>
                    <a:pt x="753307" y="588244"/>
                  </a:lnTo>
                  <a:lnTo>
                    <a:pt x="408414" y="588244"/>
                  </a:lnTo>
                  <a:close/>
                  <a:moveTo>
                    <a:pt x="0" y="530190"/>
                  </a:moveTo>
                  <a:lnTo>
                    <a:pt x="816827" y="530190"/>
                  </a:lnTo>
                  <a:lnTo>
                    <a:pt x="816827" y="729011"/>
                  </a:lnTo>
                  <a:lnTo>
                    <a:pt x="0" y="729011"/>
                  </a:lnTo>
                  <a:lnTo>
                    <a:pt x="0" y="530190"/>
                  </a:lnTo>
                  <a:close/>
                  <a:moveTo>
                    <a:pt x="167873" y="323149"/>
                  </a:moveTo>
                  <a:lnTo>
                    <a:pt x="167873" y="405862"/>
                  </a:lnTo>
                  <a:lnTo>
                    <a:pt x="753306" y="405862"/>
                  </a:lnTo>
                  <a:lnTo>
                    <a:pt x="753306" y="323149"/>
                  </a:lnTo>
                  <a:lnTo>
                    <a:pt x="167873" y="323149"/>
                  </a:lnTo>
                  <a:close/>
                  <a:moveTo>
                    <a:pt x="0" y="265095"/>
                  </a:moveTo>
                  <a:lnTo>
                    <a:pt x="816827" y="265095"/>
                  </a:lnTo>
                  <a:lnTo>
                    <a:pt x="816827" y="463916"/>
                  </a:lnTo>
                  <a:lnTo>
                    <a:pt x="0" y="463916"/>
                  </a:lnTo>
                  <a:lnTo>
                    <a:pt x="0" y="265095"/>
                  </a:lnTo>
                  <a:close/>
                  <a:moveTo>
                    <a:pt x="499162" y="58054"/>
                  </a:moveTo>
                  <a:lnTo>
                    <a:pt x="499162" y="140767"/>
                  </a:lnTo>
                  <a:lnTo>
                    <a:pt x="753306" y="140767"/>
                  </a:lnTo>
                  <a:lnTo>
                    <a:pt x="753306" y="58054"/>
                  </a:lnTo>
                  <a:lnTo>
                    <a:pt x="499162" y="58054"/>
                  </a:lnTo>
                  <a:close/>
                  <a:moveTo>
                    <a:pt x="0" y="0"/>
                  </a:moveTo>
                  <a:lnTo>
                    <a:pt x="816827" y="0"/>
                  </a:lnTo>
                  <a:lnTo>
                    <a:pt x="816827" y="198821"/>
                  </a:lnTo>
                  <a:lnTo>
                    <a:pt x="0" y="198821"/>
                  </a:lnTo>
                  <a:lnTo>
                    <a:pt x="0" y="0"/>
                  </a:lnTo>
                  <a:close/>
                </a:path>
              </a:pathLst>
            </a:custGeom>
            <a:ln w="25400">
              <a:noFill/>
            </a:ln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84" name="组合 12"/>
          <p:cNvGrpSpPr/>
          <p:nvPr/>
        </p:nvGrpSpPr>
        <p:grpSpPr>
          <a:xfrm>
            <a:off x="4303713" y="1851025"/>
            <a:ext cx="536575" cy="538163"/>
            <a:chOff x="0" y="0"/>
            <a:chExt cx="1410703" cy="1410703"/>
          </a:xfrm>
        </p:grpSpPr>
        <p:sp>
          <p:nvSpPr>
            <p:cNvPr id="85" name="圆角矩形 13"/>
            <p:cNvSpPr/>
            <p:nvPr/>
          </p:nvSpPr>
          <p:spPr>
            <a:xfrm>
              <a:off x="0" y="0"/>
              <a:ext cx="1410703" cy="1410703"/>
            </a:xfrm>
            <a:prstGeom prst="roundRect">
              <a:avLst>
                <a:gd name="adj" fmla="val 16667"/>
              </a:avLst>
            </a:prstGeom>
            <a:solidFill>
              <a:srgbClr val="FFFFFF">
                <a:alpha val="50195"/>
              </a:srgbClr>
            </a:solidFill>
            <a:ln w="25400">
              <a:noFill/>
            </a:ln>
          </p:spPr>
          <p:txBody>
            <a:bodyPr anchor="ctr"/>
            <a:lstStyle>
              <a:lvl1pPr marL="342900" indent="-342900" algn="l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微软雅黑" panose="020B0503020204020204" pitchFamily="34" charset="-122"/>
                </a:defRPr>
              </a:lvl1pPr>
              <a:lvl2pPr marL="742950" indent="-285750" algn="l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+mn-lt"/>
                  <a:ea typeface="+mn-ea"/>
                  <a:sym typeface="微软雅黑" panose="020B0503020204020204" pitchFamily="34" charset="-122"/>
                </a:defRPr>
              </a:lvl2pPr>
              <a:lvl3pPr marL="1143000" indent="-228600" algn="l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+mn-lt"/>
                  <a:ea typeface="+mn-ea"/>
                  <a:sym typeface="微软雅黑" panose="020B0503020204020204" pitchFamily="34" charset="-122"/>
                </a:defRPr>
              </a:lvl3pPr>
              <a:lvl4pPr marL="1600200" indent="-228600" algn="l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+mn-lt"/>
                  <a:ea typeface="+mn-ea"/>
                  <a:sym typeface="微软雅黑" panose="020B0503020204020204" pitchFamily="34" charset="-122"/>
                </a:defRPr>
              </a:lvl4pPr>
              <a:lvl5pPr marL="2057400" indent="-228600" algn="l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+mn-lt"/>
                  <a:ea typeface="+mn-ea"/>
                  <a:sym typeface="微软雅黑" panose="020B0503020204020204" pitchFamily="34" charset="-122"/>
                </a:defRPr>
              </a:lvl5pPr>
            </a:lstStyle>
            <a:p>
              <a:pPr marL="0" lvl="0" indent="0" algn="ctr" eaLnBrk="1" hangingPunct="1">
                <a:spcBef>
                  <a:spcPct val="0"/>
                </a:spcBef>
                <a:buNone/>
              </a:pPr>
              <a:endParaRPr lang="zh-CN" altLang="zh-CN" sz="1800" dirty="0">
                <a:solidFill>
                  <a:srgbClr val="00CC99"/>
                </a:solidFill>
                <a:latin typeface="Arial" panose="020B0604020202020204" pitchFamily="34" charset="0"/>
                <a:ea typeface="宋体" panose="02010600030101010101" pitchFamily="2" charset="-122"/>
              </a:endParaRPr>
            </a:p>
          </p:txBody>
        </p:sp>
        <p:sp>
          <p:nvSpPr>
            <p:cNvPr id="86" name="任意多边形 14"/>
            <p:cNvSpPr/>
            <p:nvPr/>
          </p:nvSpPr>
          <p:spPr>
            <a:xfrm>
              <a:off x="282594" y="284649"/>
              <a:ext cx="1128107" cy="1126054"/>
            </a:xfrm>
            <a:custGeom>
              <a:avLst/>
              <a:gdLst>
                <a:gd name="txL" fmla="*/ 0 w 1128107"/>
                <a:gd name="txT" fmla="*/ 0 h 1126054"/>
                <a:gd name="txR" fmla="*/ 1128107 w 1128107"/>
                <a:gd name="txB" fmla="*/ 1126054 h 1126054"/>
              </a:gdLst>
              <a:ahLst/>
              <a:cxnLst>
                <a:cxn ang="0">
                  <a:pos x="2105" y="0"/>
                </a:cxn>
                <a:cxn ang="0">
                  <a:pos x="398111" y="0"/>
                </a:cxn>
                <a:cxn ang="0">
                  <a:pos x="453960" y="51195"/>
                </a:cxn>
                <a:cxn ang="0">
                  <a:pos x="469958" y="0"/>
                </a:cxn>
                <a:cxn ang="0">
                  <a:pos x="838821" y="0"/>
                </a:cxn>
                <a:cxn ang="0">
                  <a:pos x="1125726" y="217953"/>
                </a:cxn>
                <a:cxn ang="0">
                  <a:pos x="1128107" y="890932"/>
                </a:cxn>
                <a:cxn ang="0">
                  <a:pos x="892985" y="1126054"/>
                </a:cxn>
                <a:cxn ang="0">
                  <a:pos x="337738" y="1126054"/>
                </a:cxn>
                <a:cxn ang="0">
                  <a:pos x="2504" y="838560"/>
                </a:cxn>
                <a:cxn ang="0">
                  <a:pos x="2105" y="838474"/>
                </a:cxn>
                <a:cxn ang="0">
                  <a:pos x="32" y="451928"/>
                </a:cxn>
                <a:cxn ang="0">
                  <a:pos x="64017" y="453319"/>
                </a:cxn>
                <a:cxn ang="0">
                  <a:pos x="0" y="394637"/>
                </a:cxn>
                <a:cxn ang="0">
                  <a:pos x="20" y="390433"/>
                </a:cxn>
                <a:cxn ang="0">
                  <a:pos x="2105" y="0"/>
                </a:cxn>
              </a:cxnLst>
              <a:rect l="txL" t="txT" r="txR" b="txB"/>
              <a:pathLst>
                <a:path w="1128107" h="1126054">
                  <a:moveTo>
                    <a:pt x="2105" y="0"/>
                  </a:moveTo>
                  <a:lnTo>
                    <a:pt x="398111" y="0"/>
                  </a:lnTo>
                  <a:lnTo>
                    <a:pt x="453960" y="51195"/>
                  </a:lnTo>
                  <a:lnTo>
                    <a:pt x="469958" y="0"/>
                  </a:lnTo>
                  <a:lnTo>
                    <a:pt x="838821" y="0"/>
                  </a:lnTo>
                  <a:lnTo>
                    <a:pt x="1125726" y="217953"/>
                  </a:lnTo>
                  <a:cubicBezTo>
                    <a:pt x="1126520" y="442280"/>
                    <a:pt x="1127313" y="666606"/>
                    <a:pt x="1128107" y="890932"/>
                  </a:cubicBezTo>
                  <a:cubicBezTo>
                    <a:pt x="1128107" y="1020786"/>
                    <a:pt x="1022839" y="1126054"/>
                    <a:pt x="892985" y="1126054"/>
                  </a:cubicBezTo>
                  <a:lnTo>
                    <a:pt x="337738" y="1126054"/>
                  </a:lnTo>
                  <a:lnTo>
                    <a:pt x="2504" y="838560"/>
                  </a:lnTo>
                  <a:lnTo>
                    <a:pt x="2105" y="838474"/>
                  </a:lnTo>
                  <a:cubicBezTo>
                    <a:pt x="1413" y="709409"/>
                    <a:pt x="1066" y="644657"/>
                    <a:pt x="32" y="451928"/>
                  </a:cubicBezTo>
                  <a:lnTo>
                    <a:pt x="64017" y="453319"/>
                  </a:lnTo>
                  <a:lnTo>
                    <a:pt x="0" y="394637"/>
                  </a:lnTo>
                  <a:cubicBezTo>
                    <a:pt x="6" y="393286"/>
                    <a:pt x="13" y="391885"/>
                    <a:pt x="20" y="390433"/>
                  </a:cubicBezTo>
                  <a:lnTo>
                    <a:pt x="2105" y="0"/>
                  </a:lnTo>
                  <a:close/>
                </a:path>
              </a:pathLst>
            </a:custGeom>
            <a:solidFill>
              <a:srgbClr val="FFFFFF">
                <a:alpha val="29803"/>
              </a:srgbClr>
            </a:solidFill>
            <a:ln w="25400"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 useBgFill="1">
          <p:nvSpPr>
            <p:cNvPr id="87" name="图文框 9"/>
            <p:cNvSpPr/>
            <p:nvPr/>
          </p:nvSpPr>
          <p:spPr>
            <a:xfrm>
              <a:off x="284699" y="284648"/>
              <a:ext cx="841304" cy="841406"/>
            </a:xfrm>
            <a:custGeom>
              <a:avLst/>
              <a:gdLst>
                <a:gd name="txL" fmla="*/ 0 w 637287"/>
                <a:gd name="txT" fmla="*/ 0 h 637366"/>
                <a:gd name="txR" fmla="*/ 637287 w 637287"/>
                <a:gd name="txB" fmla="*/ 637366 h 637366"/>
              </a:gdLst>
              <a:ahLst/>
              <a:cxnLst>
                <a:cxn ang="0">
                  <a:pos x="1466185" y="1274522"/>
                </a:cxn>
                <a:cxn ang="0">
                  <a:pos x="1297460" y="1443244"/>
                </a:cxn>
                <a:cxn ang="0">
                  <a:pos x="1038747" y="1274522"/>
                </a:cxn>
                <a:cxn ang="0">
                  <a:pos x="1207469" y="1443244"/>
                </a:cxn>
                <a:cxn ang="0">
                  <a:pos x="1038747" y="1274522"/>
                </a:cxn>
                <a:cxn ang="0">
                  <a:pos x="427438" y="1038919"/>
                </a:cxn>
                <a:cxn ang="0">
                  <a:pos x="258715" y="1207643"/>
                </a:cxn>
                <a:cxn ang="0">
                  <a:pos x="124652" y="904858"/>
                </a:cxn>
                <a:cxn ang="0">
                  <a:pos x="561500" y="1341704"/>
                </a:cxn>
                <a:cxn ang="0">
                  <a:pos x="124652" y="904858"/>
                </a:cxn>
                <a:cxn ang="0">
                  <a:pos x="902402" y="780207"/>
                </a:cxn>
                <a:cxn ang="0">
                  <a:pos x="1192918" y="780209"/>
                </a:cxn>
                <a:cxn ang="0">
                  <a:pos x="1343814" y="909564"/>
                </a:cxn>
                <a:cxn ang="0">
                  <a:pos x="1466185" y="780209"/>
                </a:cxn>
                <a:cxn ang="0">
                  <a:pos x="1466185" y="1168275"/>
                </a:cxn>
                <a:cxn ang="0">
                  <a:pos x="1343814" y="1168278"/>
                </a:cxn>
                <a:cxn ang="0">
                  <a:pos x="1038747" y="1168275"/>
                </a:cxn>
                <a:cxn ang="0">
                  <a:pos x="902402" y="1038923"/>
                </a:cxn>
                <a:cxn ang="0">
                  <a:pos x="780031" y="1443244"/>
                </a:cxn>
                <a:cxn ang="0">
                  <a:pos x="0" y="780207"/>
                </a:cxn>
                <a:cxn ang="0">
                  <a:pos x="686153" y="1466354"/>
                </a:cxn>
                <a:cxn ang="0">
                  <a:pos x="0" y="780207"/>
                </a:cxn>
                <a:cxn ang="0">
                  <a:pos x="1207469" y="258712"/>
                </a:cxn>
                <a:cxn ang="0">
                  <a:pos x="1038747" y="427436"/>
                </a:cxn>
                <a:cxn ang="0">
                  <a:pos x="258715" y="258712"/>
                </a:cxn>
                <a:cxn ang="0">
                  <a:pos x="427438" y="427436"/>
                </a:cxn>
                <a:cxn ang="0">
                  <a:pos x="258715" y="258712"/>
                </a:cxn>
                <a:cxn ang="0">
                  <a:pos x="904684" y="561496"/>
                </a:cxn>
                <a:cxn ang="0">
                  <a:pos x="1341533" y="124652"/>
                </a:cxn>
                <a:cxn ang="0">
                  <a:pos x="124652" y="124652"/>
                </a:cxn>
                <a:cxn ang="0">
                  <a:pos x="561500" y="561496"/>
                </a:cxn>
                <a:cxn ang="0">
                  <a:pos x="124652" y="124652"/>
                </a:cxn>
                <a:cxn ang="0">
                  <a:pos x="1466185" y="0"/>
                </a:cxn>
                <a:cxn ang="0">
                  <a:pos x="780031" y="686148"/>
                </a:cxn>
                <a:cxn ang="0">
                  <a:pos x="0" y="0"/>
                </a:cxn>
                <a:cxn ang="0">
                  <a:pos x="686153" y="686148"/>
                </a:cxn>
                <a:cxn ang="0">
                  <a:pos x="0" y="0"/>
                </a:cxn>
              </a:cxnLst>
              <a:rect l="txL" t="txT" r="txR" b="txB"/>
              <a:pathLst>
                <a:path w="637287" h="637366">
                  <a:moveTo>
                    <a:pt x="563950" y="553984"/>
                  </a:moveTo>
                  <a:lnTo>
                    <a:pt x="637287" y="553984"/>
                  </a:lnTo>
                  <a:lnTo>
                    <a:pt x="637287" y="627321"/>
                  </a:lnTo>
                  <a:lnTo>
                    <a:pt x="563950" y="627321"/>
                  </a:lnTo>
                  <a:lnTo>
                    <a:pt x="563950" y="553984"/>
                  </a:lnTo>
                  <a:close/>
                  <a:moveTo>
                    <a:pt x="451498" y="553984"/>
                  </a:moveTo>
                  <a:lnTo>
                    <a:pt x="524835" y="553984"/>
                  </a:lnTo>
                  <a:lnTo>
                    <a:pt x="524835" y="627321"/>
                  </a:lnTo>
                  <a:lnTo>
                    <a:pt x="451498" y="627321"/>
                  </a:lnTo>
                  <a:lnTo>
                    <a:pt x="451498" y="553984"/>
                  </a:lnTo>
                  <a:close/>
                  <a:moveTo>
                    <a:pt x="112452" y="451577"/>
                  </a:moveTo>
                  <a:lnTo>
                    <a:pt x="185789" y="451577"/>
                  </a:lnTo>
                  <a:lnTo>
                    <a:pt x="185789" y="524914"/>
                  </a:lnTo>
                  <a:lnTo>
                    <a:pt x="112452" y="524914"/>
                  </a:lnTo>
                  <a:lnTo>
                    <a:pt x="112452" y="451577"/>
                  </a:lnTo>
                  <a:close/>
                  <a:moveTo>
                    <a:pt x="54181" y="393306"/>
                  </a:moveTo>
                  <a:lnTo>
                    <a:pt x="54181" y="583185"/>
                  </a:lnTo>
                  <a:lnTo>
                    <a:pt x="244060" y="583185"/>
                  </a:lnTo>
                  <a:lnTo>
                    <a:pt x="244060" y="393306"/>
                  </a:lnTo>
                  <a:lnTo>
                    <a:pt x="54181" y="393306"/>
                  </a:lnTo>
                  <a:close/>
                  <a:moveTo>
                    <a:pt x="339046" y="339125"/>
                  </a:moveTo>
                  <a:lnTo>
                    <a:pt x="392235" y="339125"/>
                  </a:lnTo>
                  <a:lnTo>
                    <a:pt x="392235" y="339126"/>
                  </a:lnTo>
                  <a:lnTo>
                    <a:pt x="518510" y="339126"/>
                  </a:lnTo>
                  <a:lnTo>
                    <a:pt x="518510" y="395351"/>
                  </a:lnTo>
                  <a:lnTo>
                    <a:pt x="584098" y="395351"/>
                  </a:lnTo>
                  <a:lnTo>
                    <a:pt x="584098" y="339126"/>
                  </a:lnTo>
                  <a:lnTo>
                    <a:pt x="637287" y="339126"/>
                  </a:lnTo>
                  <a:lnTo>
                    <a:pt x="637287" y="395351"/>
                  </a:lnTo>
                  <a:lnTo>
                    <a:pt x="637287" y="507803"/>
                  </a:lnTo>
                  <a:lnTo>
                    <a:pt x="637287" y="507804"/>
                  </a:lnTo>
                  <a:lnTo>
                    <a:pt x="584098" y="507804"/>
                  </a:lnTo>
                  <a:lnTo>
                    <a:pt x="584098" y="507803"/>
                  </a:lnTo>
                  <a:lnTo>
                    <a:pt x="451498" y="507803"/>
                  </a:lnTo>
                  <a:lnTo>
                    <a:pt x="451498" y="451578"/>
                  </a:lnTo>
                  <a:lnTo>
                    <a:pt x="392235" y="451578"/>
                  </a:lnTo>
                  <a:lnTo>
                    <a:pt x="392235" y="627321"/>
                  </a:lnTo>
                  <a:lnTo>
                    <a:pt x="339046" y="627321"/>
                  </a:lnTo>
                  <a:lnTo>
                    <a:pt x="339046" y="339125"/>
                  </a:lnTo>
                  <a:close/>
                  <a:moveTo>
                    <a:pt x="0" y="339125"/>
                  </a:moveTo>
                  <a:lnTo>
                    <a:pt x="298241" y="339125"/>
                  </a:lnTo>
                  <a:lnTo>
                    <a:pt x="298241" y="637366"/>
                  </a:lnTo>
                  <a:lnTo>
                    <a:pt x="0" y="637366"/>
                  </a:lnTo>
                  <a:lnTo>
                    <a:pt x="0" y="339125"/>
                  </a:lnTo>
                  <a:close/>
                  <a:moveTo>
                    <a:pt x="451498" y="112452"/>
                  </a:moveTo>
                  <a:lnTo>
                    <a:pt x="524835" y="112452"/>
                  </a:lnTo>
                  <a:lnTo>
                    <a:pt x="524835" y="185789"/>
                  </a:lnTo>
                  <a:lnTo>
                    <a:pt x="451498" y="185789"/>
                  </a:lnTo>
                  <a:lnTo>
                    <a:pt x="451498" y="112452"/>
                  </a:lnTo>
                  <a:close/>
                  <a:moveTo>
                    <a:pt x="112452" y="112452"/>
                  </a:moveTo>
                  <a:lnTo>
                    <a:pt x="185789" y="112452"/>
                  </a:lnTo>
                  <a:lnTo>
                    <a:pt x="185789" y="185789"/>
                  </a:lnTo>
                  <a:lnTo>
                    <a:pt x="112452" y="185789"/>
                  </a:lnTo>
                  <a:lnTo>
                    <a:pt x="112452" y="112452"/>
                  </a:lnTo>
                  <a:close/>
                  <a:moveTo>
                    <a:pt x="393227" y="54181"/>
                  </a:moveTo>
                  <a:lnTo>
                    <a:pt x="393227" y="244060"/>
                  </a:lnTo>
                  <a:lnTo>
                    <a:pt x="583106" y="244060"/>
                  </a:lnTo>
                  <a:lnTo>
                    <a:pt x="583106" y="54181"/>
                  </a:lnTo>
                  <a:lnTo>
                    <a:pt x="393227" y="54181"/>
                  </a:lnTo>
                  <a:close/>
                  <a:moveTo>
                    <a:pt x="54181" y="54181"/>
                  </a:moveTo>
                  <a:lnTo>
                    <a:pt x="54181" y="244060"/>
                  </a:lnTo>
                  <a:lnTo>
                    <a:pt x="244060" y="244060"/>
                  </a:lnTo>
                  <a:lnTo>
                    <a:pt x="244060" y="54181"/>
                  </a:lnTo>
                  <a:lnTo>
                    <a:pt x="54181" y="54181"/>
                  </a:lnTo>
                  <a:close/>
                  <a:moveTo>
                    <a:pt x="339046" y="0"/>
                  </a:moveTo>
                  <a:lnTo>
                    <a:pt x="637287" y="0"/>
                  </a:lnTo>
                  <a:lnTo>
                    <a:pt x="637287" y="298241"/>
                  </a:lnTo>
                  <a:lnTo>
                    <a:pt x="339046" y="298241"/>
                  </a:lnTo>
                  <a:lnTo>
                    <a:pt x="339046" y="0"/>
                  </a:lnTo>
                  <a:close/>
                  <a:moveTo>
                    <a:pt x="0" y="0"/>
                  </a:moveTo>
                  <a:lnTo>
                    <a:pt x="298241" y="0"/>
                  </a:lnTo>
                  <a:lnTo>
                    <a:pt x="298241" y="298241"/>
                  </a:lnTo>
                  <a:lnTo>
                    <a:pt x="0" y="298241"/>
                  </a:lnTo>
                  <a:lnTo>
                    <a:pt x="0" y="0"/>
                  </a:lnTo>
                  <a:close/>
                </a:path>
              </a:pathLst>
            </a:custGeom>
            <a:ln w="25400">
              <a:noFill/>
            </a:ln>
          </p:spPr>
          <p:txBody>
            <a:bodyPr/>
            <a:lstStyle/>
            <a:p>
              <a:endParaRPr lang="zh-CN" altLang="en-US"/>
            </a:p>
          </p:txBody>
        </p:sp>
      </p:grpSp>
      <p:sp>
        <p:nvSpPr>
          <p:cNvPr id="88" name="Rectangle 4"/>
          <p:cNvSpPr/>
          <p:nvPr/>
        </p:nvSpPr>
        <p:spPr>
          <a:xfrm>
            <a:off x="3563938" y="2757488"/>
            <a:ext cx="2016125" cy="669414"/>
          </a:xfrm>
          <a:prstGeom prst="rect">
            <a:avLst/>
          </a:prstGeom>
          <a:noFill/>
          <a:ln w="9525">
            <a:noFill/>
          </a:ln>
        </p:spPr>
        <p:txBody>
          <a:bodyPr lIns="68580" tIns="34290" rIns="68580" bIns="34290">
            <a:sp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  <a:sym typeface="微软雅黑" panose="020B0503020204020204" pitchFamily="34" charset="-122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+mn-lt"/>
                <a:ea typeface="+mn-ea"/>
                <a:sym typeface="微软雅黑" panose="020B0503020204020204" pitchFamily="34" charset="-122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sym typeface="微软雅黑" panose="020B0503020204020204" pitchFamily="34" charset="-122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+mn-lt"/>
                <a:ea typeface="+mn-ea"/>
                <a:sym typeface="微软雅黑" panose="020B0503020204020204" pitchFamily="34" charset="-122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+mn-lt"/>
                <a:ea typeface="+mn-ea"/>
                <a:sym typeface="微软雅黑" panose="020B0503020204020204" pitchFamily="34" charset="-122"/>
              </a:defRPr>
            </a:lvl5pPr>
          </a:lstStyle>
          <a:p>
            <a:pPr marL="0" lvl="0" indent="0" algn="ctr" eaLnBrk="1" hangingPunct="1">
              <a:spcBef>
                <a:spcPct val="0"/>
              </a:spcBef>
              <a:buNone/>
            </a:pPr>
            <a:r>
              <a:rPr lang="zh-CN" altLang="en-US" sz="2200" dirty="0">
                <a:solidFill>
                  <a:srgbClr val="FFFFFF"/>
                </a:solidFill>
              </a:rPr>
              <a:t>信息传递</a:t>
            </a:r>
            <a:r>
              <a:rPr lang="zh-CN" altLang="en-US" sz="800" dirty="0">
                <a:solidFill>
                  <a:srgbClr val="FFFFFF"/>
                </a:solidFill>
              </a:rPr>
              <a:t/>
            </a:r>
            <a:br>
              <a:rPr lang="zh-CN" altLang="en-US" sz="800" dirty="0">
                <a:solidFill>
                  <a:srgbClr val="FFFFFF"/>
                </a:solidFill>
              </a:rPr>
            </a:br>
            <a:r>
              <a:rPr lang="zh-CN" altLang="en-US" sz="800" dirty="0">
                <a:solidFill>
                  <a:srgbClr val="FFFFFF"/>
                </a:solidFill>
              </a:rPr>
              <a:t/>
            </a:r>
            <a:br>
              <a:rPr lang="zh-CN" altLang="en-US" sz="800" dirty="0">
                <a:solidFill>
                  <a:srgbClr val="FFFFFF"/>
                </a:solidFill>
              </a:rPr>
            </a:br>
            <a:endParaRPr lang="en-US" altLang="zh-CN" sz="900" dirty="0">
              <a:solidFill>
                <a:srgbClr val="FEFEFE"/>
              </a:solidFill>
            </a:endParaRPr>
          </a:p>
        </p:txBody>
      </p:sp>
      <p:sp>
        <p:nvSpPr>
          <p:cNvPr id="89" name="Rectangle 4"/>
          <p:cNvSpPr/>
          <p:nvPr/>
        </p:nvSpPr>
        <p:spPr>
          <a:xfrm>
            <a:off x="1222375" y="2757488"/>
            <a:ext cx="2054225" cy="669414"/>
          </a:xfrm>
          <a:prstGeom prst="rect">
            <a:avLst/>
          </a:prstGeom>
          <a:noFill/>
          <a:ln w="9525">
            <a:noFill/>
          </a:ln>
        </p:spPr>
        <p:txBody>
          <a:bodyPr lIns="68580" tIns="34290" rIns="68580" bIns="34290">
            <a:sp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  <a:sym typeface="微软雅黑" panose="020B0503020204020204" pitchFamily="34" charset="-122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+mn-lt"/>
                <a:ea typeface="+mn-ea"/>
                <a:sym typeface="微软雅黑" panose="020B0503020204020204" pitchFamily="34" charset="-122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sym typeface="微软雅黑" panose="020B0503020204020204" pitchFamily="34" charset="-122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+mn-lt"/>
                <a:ea typeface="+mn-ea"/>
                <a:sym typeface="微软雅黑" panose="020B0503020204020204" pitchFamily="34" charset="-122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+mn-lt"/>
                <a:ea typeface="+mn-ea"/>
                <a:sym typeface="微软雅黑" panose="020B0503020204020204" pitchFamily="34" charset="-122"/>
              </a:defRPr>
            </a:lvl5pPr>
          </a:lstStyle>
          <a:p>
            <a:pPr marL="0" lvl="0" indent="0" algn="ctr" eaLnBrk="1" hangingPunct="1">
              <a:spcBef>
                <a:spcPct val="0"/>
              </a:spcBef>
              <a:buNone/>
            </a:pPr>
            <a:r>
              <a:rPr lang="zh-CN" altLang="en-US" sz="2200" dirty="0">
                <a:solidFill>
                  <a:srgbClr val="FFFFFF"/>
                </a:solidFill>
              </a:rPr>
              <a:t>规则限制</a:t>
            </a:r>
            <a:r>
              <a:rPr lang="zh-CN" altLang="en-US" sz="800" dirty="0">
                <a:solidFill>
                  <a:srgbClr val="FFFFFF"/>
                </a:solidFill>
              </a:rPr>
              <a:t/>
            </a:r>
            <a:br>
              <a:rPr lang="zh-CN" altLang="en-US" sz="800" dirty="0">
                <a:solidFill>
                  <a:srgbClr val="FFFFFF"/>
                </a:solidFill>
              </a:rPr>
            </a:br>
            <a:r>
              <a:rPr lang="zh-CN" altLang="en-US" sz="800" dirty="0">
                <a:solidFill>
                  <a:srgbClr val="FFFFFF"/>
                </a:solidFill>
              </a:rPr>
              <a:t/>
            </a:r>
            <a:br>
              <a:rPr lang="zh-CN" altLang="en-US" sz="800" dirty="0">
                <a:solidFill>
                  <a:srgbClr val="FFFFFF"/>
                </a:solidFill>
              </a:rPr>
            </a:br>
            <a:endParaRPr lang="en-US" altLang="zh-CN" sz="900" dirty="0">
              <a:solidFill>
                <a:srgbClr val="FEFEFE"/>
              </a:solidFill>
            </a:endParaRPr>
          </a:p>
        </p:txBody>
      </p:sp>
      <p:sp>
        <p:nvSpPr>
          <p:cNvPr id="90" name="Rectangle 4"/>
          <p:cNvSpPr/>
          <p:nvPr/>
        </p:nvSpPr>
        <p:spPr>
          <a:xfrm>
            <a:off x="5957888" y="2757488"/>
            <a:ext cx="2070100" cy="669414"/>
          </a:xfrm>
          <a:prstGeom prst="rect">
            <a:avLst/>
          </a:prstGeom>
          <a:noFill/>
          <a:ln w="9525">
            <a:noFill/>
          </a:ln>
        </p:spPr>
        <p:txBody>
          <a:bodyPr lIns="68580" tIns="34290" rIns="68580" bIns="34290">
            <a:sp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  <a:sym typeface="微软雅黑" panose="020B0503020204020204" pitchFamily="34" charset="-122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+mn-lt"/>
                <a:ea typeface="+mn-ea"/>
                <a:sym typeface="微软雅黑" panose="020B0503020204020204" pitchFamily="34" charset="-122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sym typeface="微软雅黑" panose="020B0503020204020204" pitchFamily="34" charset="-122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+mn-lt"/>
                <a:ea typeface="+mn-ea"/>
                <a:sym typeface="微软雅黑" panose="020B0503020204020204" pitchFamily="34" charset="-122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+mn-lt"/>
                <a:ea typeface="+mn-ea"/>
                <a:sym typeface="微软雅黑" panose="020B0503020204020204" pitchFamily="34" charset="-122"/>
              </a:defRPr>
            </a:lvl5pPr>
          </a:lstStyle>
          <a:p>
            <a:pPr marL="0" lvl="0" indent="0" algn="ctr" eaLnBrk="1" hangingPunct="1">
              <a:spcBef>
                <a:spcPct val="0"/>
              </a:spcBef>
              <a:buNone/>
            </a:pPr>
            <a:r>
              <a:rPr lang="zh-CN" altLang="en-US" sz="2200" dirty="0">
                <a:solidFill>
                  <a:srgbClr val="FFFFFF"/>
                </a:solidFill>
              </a:rPr>
              <a:t>界面更新</a:t>
            </a:r>
            <a:br>
              <a:rPr lang="zh-CN" altLang="en-US" sz="2200" dirty="0">
                <a:solidFill>
                  <a:srgbClr val="FFFFFF"/>
                </a:solidFill>
              </a:rPr>
            </a:br>
            <a:r>
              <a:rPr lang="zh-CN" altLang="en-US" sz="800" dirty="0">
                <a:solidFill>
                  <a:srgbClr val="FFFFFF"/>
                </a:solidFill>
              </a:rPr>
              <a:t/>
            </a:r>
            <a:br>
              <a:rPr lang="zh-CN" altLang="en-US" sz="800" dirty="0">
                <a:solidFill>
                  <a:srgbClr val="FFFFFF"/>
                </a:solidFill>
              </a:rPr>
            </a:br>
            <a:endParaRPr lang="en-US" altLang="zh-CN" sz="900" dirty="0">
              <a:solidFill>
                <a:srgbClr val="FEFEFE"/>
              </a:solidFill>
            </a:endParaRPr>
          </a:p>
        </p:txBody>
      </p:sp>
      <p:sp>
        <p:nvSpPr>
          <p:cNvPr id="91" name="直接连接符 19"/>
          <p:cNvSpPr/>
          <p:nvPr/>
        </p:nvSpPr>
        <p:spPr>
          <a:xfrm>
            <a:off x="8172450" y="2211388"/>
            <a:ext cx="0" cy="1944687"/>
          </a:xfrm>
          <a:prstGeom prst="line">
            <a:avLst/>
          </a:prstGeom>
          <a:ln w="9525" cap="flat" cmpd="sng">
            <a:solidFill>
              <a:schemeClr val="bg1"/>
            </a:solidFill>
            <a:prstDash val="solid"/>
            <a:bevel/>
            <a:headEnd type="none" w="med" len="med"/>
            <a:tailEnd type="none" w="med" len="med"/>
          </a:ln>
        </p:spPr>
      </p:sp>
      <p:sp>
        <p:nvSpPr>
          <p:cNvPr id="92" name="直接连接符 20"/>
          <p:cNvSpPr/>
          <p:nvPr/>
        </p:nvSpPr>
        <p:spPr>
          <a:xfrm>
            <a:off x="1187450" y="2211388"/>
            <a:ext cx="0" cy="1944687"/>
          </a:xfrm>
          <a:prstGeom prst="line">
            <a:avLst/>
          </a:prstGeom>
          <a:ln w="9525" cap="flat" cmpd="sng">
            <a:solidFill>
              <a:schemeClr val="bg1"/>
            </a:solidFill>
            <a:prstDash val="solid"/>
            <a:bevel/>
            <a:headEnd type="none" w="med" len="med"/>
            <a:tailEnd type="none" w="med" len="med"/>
          </a:ln>
        </p:spPr>
      </p:sp>
      <p:sp>
        <p:nvSpPr>
          <p:cNvPr id="93" name="矩形 92">
            <a:extLst>
              <a:ext uri="{FF2B5EF4-FFF2-40B4-BE49-F238E27FC236}">
                <a16:creationId xmlns:a16="http://schemas.microsoft.com/office/drawing/2014/main" id="{8ABFA0AC-4F02-4CBE-952D-59CDFFFDA1BE}"/>
              </a:ext>
            </a:extLst>
          </p:cNvPr>
          <p:cNvSpPr/>
          <p:nvPr/>
        </p:nvSpPr>
        <p:spPr>
          <a:xfrm>
            <a:off x="3358713" y="425317"/>
            <a:ext cx="2448106" cy="76944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zh-CN" altLang="en-US" sz="44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对战实现</a:t>
            </a:r>
            <a:endParaRPr lang="zh-CN" altLang="en-US" sz="4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521287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0">
        <p14:flip dir="r"/>
      </p:transition>
    </mc:Choice>
    <mc:Fallback xmlns="">
      <p:transition spd="slow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500"/>
                            </p:stCondLst>
                            <p:childTnLst>
                              <p:par>
                                <p:cTn id="16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2" presetClass="entr" presetSubtype="4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" presetID="2" presetClass="entr" presetSubtype="4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200"/>
                            </p:stCondLst>
                            <p:childTnLst>
                              <p:par>
                                <p:cTn id="29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1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1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1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2000"/>
                            </p:stCondLst>
                            <p:childTnLst>
                              <p:par>
                                <p:cTn id="46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0" presetID="2" presetClass="entr" presetSubtype="4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4" presetID="2" presetClass="entr" presetSubtype="4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2" grpId="0"/>
      <p:bldP spid="88" grpId="0" bldLvl="0"/>
      <p:bldP spid="89" grpId="0" bldLvl="0"/>
      <p:bldP spid="90" grpId="0" bldLvl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合 3"/>
          <p:cNvGrpSpPr/>
          <p:nvPr/>
        </p:nvGrpSpPr>
        <p:grpSpPr>
          <a:xfrm>
            <a:off x="183398" y="425317"/>
            <a:ext cx="846443" cy="659285"/>
            <a:chOff x="5896029" y="567090"/>
            <a:chExt cx="2542304" cy="1980172"/>
          </a:xfrm>
        </p:grpSpPr>
        <p:grpSp>
          <p:nvGrpSpPr>
            <p:cNvPr id="5" name="组合 4"/>
            <p:cNvGrpSpPr/>
            <p:nvPr/>
          </p:nvGrpSpPr>
          <p:grpSpPr>
            <a:xfrm>
              <a:off x="6157182" y="567090"/>
              <a:ext cx="1982032" cy="1980172"/>
              <a:chOff x="6309221" y="788029"/>
              <a:chExt cx="2825105" cy="2822453"/>
            </a:xfrm>
          </p:grpSpPr>
          <p:sp>
            <p:nvSpPr>
              <p:cNvPr id="8" name="椭圆 7"/>
              <p:cNvSpPr/>
              <p:nvPr/>
            </p:nvSpPr>
            <p:spPr>
              <a:xfrm>
                <a:off x="6461555" y="939037"/>
                <a:ext cx="2520437" cy="2520437"/>
              </a:xfrm>
              <a:prstGeom prst="ellipse">
                <a:avLst/>
              </a:prstGeom>
              <a:solidFill>
                <a:srgbClr val="2921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grpSp>
            <p:nvGrpSpPr>
              <p:cNvPr id="9" name="组合 8"/>
              <p:cNvGrpSpPr/>
              <p:nvPr/>
            </p:nvGrpSpPr>
            <p:grpSpPr>
              <a:xfrm>
                <a:off x="6309221" y="788029"/>
                <a:ext cx="2825105" cy="2822453"/>
                <a:chOff x="2433048" y="1083945"/>
                <a:chExt cx="5333787" cy="5328780"/>
              </a:xfrm>
            </p:grpSpPr>
            <p:sp>
              <p:nvSpPr>
                <p:cNvPr id="10" name="十六角星 9"/>
                <p:cNvSpPr/>
                <p:nvPr/>
              </p:nvSpPr>
              <p:spPr>
                <a:xfrm>
                  <a:off x="2470676" y="1127265"/>
                  <a:ext cx="5254344" cy="5254344"/>
                </a:xfrm>
                <a:prstGeom prst="star16">
                  <a:avLst>
                    <a:gd name="adj" fmla="val 49459"/>
                  </a:avLst>
                </a:prstGeom>
                <a:noFill/>
                <a:ln w="6350">
                  <a:solidFill>
                    <a:srgbClr val="9D819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grpSp>
              <p:nvGrpSpPr>
                <p:cNvPr id="11" name="组合 10"/>
                <p:cNvGrpSpPr/>
                <p:nvPr/>
              </p:nvGrpSpPr>
              <p:grpSpPr>
                <a:xfrm>
                  <a:off x="2433048" y="1083945"/>
                  <a:ext cx="5333787" cy="5328780"/>
                  <a:chOff x="2280648" y="931545"/>
                  <a:chExt cx="5333787" cy="5328780"/>
                </a:xfrm>
              </p:grpSpPr>
              <p:sp>
                <p:nvSpPr>
                  <p:cNvPr id="48" name="椭圆 47"/>
                  <p:cNvSpPr/>
                  <p:nvPr/>
                </p:nvSpPr>
                <p:spPr>
                  <a:xfrm>
                    <a:off x="3903037" y="113166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49" name="椭圆 48"/>
                  <p:cNvSpPr/>
                  <p:nvPr/>
                </p:nvSpPr>
                <p:spPr>
                  <a:xfrm>
                    <a:off x="4916848" y="93154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0" name="椭圆 49"/>
                  <p:cNvSpPr/>
                  <p:nvPr/>
                </p:nvSpPr>
                <p:spPr>
                  <a:xfrm>
                    <a:off x="5937928" y="113116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1" name="椭圆 50"/>
                  <p:cNvSpPr/>
                  <p:nvPr/>
                </p:nvSpPr>
                <p:spPr>
                  <a:xfrm>
                    <a:off x="6763087" y="170149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2" name="椭圆 51"/>
                  <p:cNvSpPr/>
                  <p:nvPr/>
                </p:nvSpPr>
                <p:spPr>
                  <a:xfrm>
                    <a:off x="3057568" y="169725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3" name="椭圆 52"/>
                  <p:cNvSpPr/>
                  <p:nvPr/>
                </p:nvSpPr>
                <p:spPr>
                  <a:xfrm>
                    <a:off x="2481128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4" name="椭圆 53"/>
                  <p:cNvSpPr/>
                  <p:nvPr/>
                </p:nvSpPr>
                <p:spPr>
                  <a:xfrm>
                    <a:off x="7344374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5" name="椭圆 54"/>
                  <p:cNvSpPr/>
                  <p:nvPr/>
                </p:nvSpPr>
                <p:spPr>
                  <a:xfrm>
                    <a:off x="7542435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6" name="椭圆 55"/>
                  <p:cNvSpPr/>
                  <p:nvPr/>
                </p:nvSpPr>
                <p:spPr>
                  <a:xfrm>
                    <a:off x="2280648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7" name="椭圆 56"/>
                  <p:cNvSpPr/>
                  <p:nvPr/>
                </p:nvSpPr>
                <p:spPr>
                  <a:xfrm>
                    <a:off x="2499116" y="461641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8" name="椭圆 57"/>
                  <p:cNvSpPr/>
                  <p:nvPr/>
                </p:nvSpPr>
                <p:spPr>
                  <a:xfrm>
                    <a:off x="7321514" y="458973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9" name="椭圆 58"/>
                  <p:cNvSpPr/>
                  <p:nvPr/>
                </p:nvSpPr>
                <p:spPr>
                  <a:xfrm>
                    <a:off x="6772514" y="542670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0" name="椭圆 59"/>
                  <p:cNvSpPr/>
                  <p:nvPr/>
                </p:nvSpPr>
                <p:spPr>
                  <a:xfrm>
                    <a:off x="3057568" y="542246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1" name="椭圆 60"/>
                  <p:cNvSpPr/>
                  <p:nvPr/>
                </p:nvSpPr>
                <p:spPr>
                  <a:xfrm>
                    <a:off x="3903037" y="5981184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2" name="椭圆 61"/>
                  <p:cNvSpPr/>
                  <p:nvPr/>
                </p:nvSpPr>
                <p:spPr>
                  <a:xfrm>
                    <a:off x="5937928" y="598068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3" name="椭圆 62"/>
                  <p:cNvSpPr/>
                  <p:nvPr/>
                </p:nvSpPr>
                <p:spPr>
                  <a:xfrm>
                    <a:off x="4916848" y="618832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4" name="椭圆 63"/>
                  <p:cNvSpPr/>
                  <p:nvPr/>
                </p:nvSpPr>
                <p:spPr>
                  <a:xfrm>
                    <a:off x="4488353" y="265727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5" name="椭圆 64"/>
                  <p:cNvSpPr/>
                  <p:nvPr/>
                </p:nvSpPr>
                <p:spPr>
                  <a:xfrm>
                    <a:off x="3129568" y="2357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6" name="椭圆 65"/>
                  <p:cNvSpPr/>
                  <p:nvPr/>
                </p:nvSpPr>
                <p:spPr>
                  <a:xfrm>
                    <a:off x="6107323" y="2572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7" name="椭圆 66"/>
                  <p:cNvSpPr/>
                  <p:nvPr/>
                </p:nvSpPr>
                <p:spPr>
                  <a:xfrm>
                    <a:off x="5431118" y="154482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8" name="椭圆 67"/>
                  <p:cNvSpPr/>
                  <p:nvPr/>
                </p:nvSpPr>
                <p:spPr>
                  <a:xfrm>
                    <a:off x="3338442" y="486097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9" name="椭圆 68"/>
                  <p:cNvSpPr/>
                  <p:nvPr/>
                </p:nvSpPr>
                <p:spPr>
                  <a:xfrm>
                    <a:off x="4080450" y="349361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70" name="椭圆 69"/>
                  <p:cNvSpPr/>
                  <p:nvPr/>
                </p:nvSpPr>
                <p:spPr>
                  <a:xfrm>
                    <a:off x="5359118" y="568536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71" name="椭圆 70"/>
                  <p:cNvSpPr/>
                  <p:nvPr/>
                </p:nvSpPr>
                <p:spPr>
                  <a:xfrm>
                    <a:off x="6857155" y="346476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</p:grpSp>
            <p:cxnSp>
              <p:nvCxnSpPr>
                <p:cNvPr id="12" name="直接连接符 11"/>
                <p:cNvCxnSpPr>
                  <a:stCxn id="49" idx="4"/>
                  <a:endCxn id="67" idx="0"/>
                </p:cNvCxnSpPr>
                <p:nvPr/>
              </p:nvCxnSpPr>
              <p:spPr>
                <a:xfrm>
                  <a:off x="5105248" y="1155945"/>
                  <a:ext cx="514270" cy="5412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" name="直接连接符 12"/>
                <p:cNvCxnSpPr>
                  <a:stCxn id="48" idx="5"/>
                  <a:endCxn id="67" idx="2"/>
                </p:cNvCxnSpPr>
                <p:nvPr/>
              </p:nvCxnSpPr>
              <p:spPr>
                <a:xfrm>
                  <a:off x="4116893" y="1345521"/>
                  <a:ext cx="1466625" cy="38770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" name="直接连接符 13"/>
                <p:cNvCxnSpPr>
                  <a:stCxn id="65" idx="0"/>
                  <a:endCxn id="48" idx="4"/>
                </p:cNvCxnSpPr>
                <p:nvPr/>
              </p:nvCxnSpPr>
              <p:spPr>
                <a:xfrm flipV="1">
                  <a:off x="3317968" y="1356065"/>
                  <a:ext cx="773469" cy="1153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" name="直接连接符 14"/>
                <p:cNvCxnSpPr>
                  <a:stCxn id="70" idx="3"/>
                  <a:endCxn id="63" idx="0"/>
                </p:cNvCxnSpPr>
                <p:nvPr/>
              </p:nvCxnSpPr>
              <p:spPr>
                <a:xfrm flipH="1">
                  <a:off x="5105248" y="5899217"/>
                  <a:ext cx="416814" cy="44150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" name="直接连接符 15"/>
                <p:cNvCxnSpPr>
                  <a:stCxn id="53" idx="6"/>
                </p:cNvCxnSpPr>
                <p:nvPr/>
              </p:nvCxnSpPr>
              <p:spPr>
                <a:xfrm flipV="1">
                  <a:off x="2705528" y="2545627"/>
                  <a:ext cx="576440" cy="19911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" name="直接连接符 16"/>
                <p:cNvCxnSpPr>
                  <a:stCxn id="65" idx="6"/>
                  <a:endCxn id="64" idx="2"/>
                </p:cNvCxnSpPr>
                <p:nvPr/>
              </p:nvCxnSpPr>
              <p:spPr>
                <a:xfrm>
                  <a:off x="3353968" y="2545627"/>
                  <a:ext cx="1286785" cy="300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" name="直接连接符 17"/>
                <p:cNvCxnSpPr>
                  <a:stCxn id="64" idx="0"/>
                  <a:endCxn id="67" idx="4"/>
                </p:cNvCxnSpPr>
                <p:nvPr/>
              </p:nvCxnSpPr>
              <p:spPr>
                <a:xfrm flipV="1">
                  <a:off x="4676753" y="1769223"/>
                  <a:ext cx="942765" cy="104045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" name="直接连接符 18"/>
                <p:cNvCxnSpPr>
                  <a:stCxn id="56" idx="7"/>
                  <a:endCxn id="65" idx="3"/>
                </p:cNvCxnSpPr>
                <p:nvPr/>
              </p:nvCxnSpPr>
              <p:spPr>
                <a:xfrm flipV="1">
                  <a:off x="2494504" y="2571083"/>
                  <a:ext cx="798008" cy="113989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" name="直接连接符 19"/>
                <p:cNvCxnSpPr>
                  <a:stCxn id="65" idx="5"/>
                  <a:endCxn id="69" idx="1"/>
                </p:cNvCxnSpPr>
                <p:nvPr/>
              </p:nvCxnSpPr>
              <p:spPr>
                <a:xfrm>
                  <a:off x="3343424" y="2571083"/>
                  <a:ext cx="899970" cy="10854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" name="直接连接符 20"/>
                <p:cNvCxnSpPr>
                  <a:stCxn id="67" idx="7"/>
                  <a:endCxn id="50" idx="3"/>
                </p:cNvCxnSpPr>
                <p:nvPr/>
              </p:nvCxnSpPr>
              <p:spPr>
                <a:xfrm flipV="1">
                  <a:off x="5644974" y="1345025"/>
                  <a:ext cx="455898" cy="36274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" name="直接连接符 21"/>
                <p:cNvCxnSpPr>
                  <a:stCxn id="67" idx="6"/>
                  <a:endCxn id="51" idx="2"/>
                </p:cNvCxnSpPr>
                <p:nvPr/>
              </p:nvCxnSpPr>
              <p:spPr>
                <a:xfrm>
                  <a:off x="5655518" y="1733223"/>
                  <a:ext cx="1259969" cy="1566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" name="直接连接符 22"/>
                <p:cNvCxnSpPr>
                  <a:stCxn id="65" idx="7"/>
                  <a:endCxn id="67" idx="3"/>
                </p:cNvCxnSpPr>
                <p:nvPr/>
              </p:nvCxnSpPr>
              <p:spPr>
                <a:xfrm flipV="1">
                  <a:off x="3343424" y="1758679"/>
                  <a:ext cx="2250638" cy="761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" name="直接连接符 23"/>
                <p:cNvCxnSpPr>
                  <a:stCxn id="67" idx="5"/>
                  <a:endCxn id="66" idx="1"/>
                </p:cNvCxnSpPr>
                <p:nvPr/>
              </p:nvCxnSpPr>
              <p:spPr>
                <a:xfrm>
                  <a:off x="5644974" y="1758679"/>
                  <a:ext cx="625293" cy="976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" name="直接连接符 24"/>
                <p:cNvCxnSpPr>
                  <a:stCxn id="64" idx="6"/>
                  <a:endCxn id="66" idx="2"/>
                </p:cNvCxnSpPr>
                <p:nvPr/>
              </p:nvCxnSpPr>
              <p:spPr>
                <a:xfrm flipV="1">
                  <a:off x="4712753" y="2760627"/>
                  <a:ext cx="1546970" cy="85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" name="直接连接符 25"/>
                <p:cNvCxnSpPr>
                  <a:stCxn id="66" idx="3"/>
                  <a:endCxn id="70" idx="0"/>
                </p:cNvCxnSpPr>
                <p:nvPr/>
              </p:nvCxnSpPr>
              <p:spPr>
                <a:xfrm flipH="1">
                  <a:off x="5547518" y="2786083"/>
                  <a:ext cx="722749" cy="30516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" name="直接连接符 26"/>
                <p:cNvCxnSpPr>
                  <a:stCxn id="66" idx="0"/>
                  <a:endCxn id="51" idx="3"/>
                </p:cNvCxnSpPr>
                <p:nvPr/>
              </p:nvCxnSpPr>
              <p:spPr>
                <a:xfrm flipV="1">
                  <a:off x="6295723" y="1915353"/>
                  <a:ext cx="630308" cy="8092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" name="直接连接符 27"/>
                <p:cNvCxnSpPr>
                  <a:stCxn id="66" idx="5"/>
                  <a:endCxn id="71" idx="1"/>
                </p:cNvCxnSpPr>
                <p:nvPr/>
              </p:nvCxnSpPr>
              <p:spPr>
                <a:xfrm>
                  <a:off x="6321179" y="2786083"/>
                  <a:ext cx="698920" cy="84162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" name="直接连接符 28"/>
                <p:cNvCxnSpPr>
                  <a:stCxn id="71" idx="0"/>
                  <a:endCxn id="51" idx="4"/>
                </p:cNvCxnSpPr>
                <p:nvPr/>
              </p:nvCxnSpPr>
              <p:spPr>
                <a:xfrm flipH="1" flipV="1">
                  <a:off x="6951487" y="1925897"/>
                  <a:ext cx="94068" cy="169127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0" name="直接连接符 29"/>
                <p:cNvCxnSpPr>
                  <a:stCxn id="71" idx="7"/>
                  <a:endCxn id="54" idx="3"/>
                </p:cNvCxnSpPr>
                <p:nvPr/>
              </p:nvCxnSpPr>
              <p:spPr>
                <a:xfrm flipV="1">
                  <a:off x="7071011" y="2770197"/>
                  <a:ext cx="436307" cy="8575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1" name="直接连接符 30"/>
                <p:cNvCxnSpPr>
                  <a:stCxn id="58" idx="1"/>
                  <a:endCxn id="71" idx="5"/>
                </p:cNvCxnSpPr>
                <p:nvPr/>
              </p:nvCxnSpPr>
              <p:spPr>
                <a:xfrm flipH="1" flipV="1">
                  <a:off x="7071011" y="3678624"/>
                  <a:ext cx="413447" cy="107405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" name="直接连接符 31"/>
                <p:cNvCxnSpPr>
                  <a:stCxn id="64" idx="4"/>
                  <a:endCxn id="70" idx="1"/>
                </p:cNvCxnSpPr>
                <p:nvPr/>
              </p:nvCxnSpPr>
              <p:spPr>
                <a:xfrm>
                  <a:off x="4676753" y="2881677"/>
                  <a:ext cx="845309" cy="296662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" name="直接连接符 32"/>
                <p:cNvCxnSpPr>
                  <a:stCxn id="69" idx="5"/>
                  <a:endCxn id="70" idx="1"/>
                </p:cNvCxnSpPr>
                <p:nvPr/>
              </p:nvCxnSpPr>
              <p:spPr>
                <a:xfrm>
                  <a:off x="4294306" y="3707469"/>
                  <a:ext cx="1227756" cy="214083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" name="直接连接符 33"/>
                <p:cNvCxnSpPr>
                  <a:stCxn id="56" idx="5"/>
                  <a:endCxn id="68" idx="1"/>
                </p:cNvCxnSpPr>
                <p:nvPr/>
              </p:nvCxnSpPr>
              <p:spPr>
                <a:xfrm>
                  <a:off x="2494504" y="3761893"/>
                  <a:ext cx="1006882" cy="126202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5" name="直接连接符 34"/>
                <p:cNvCxnSpPr>
                  <a:stCxn id="68" idx="7"/>
                  <a:endCxn id="69" idx="2"/>
                </p:cNvCxnSpPr>
                <p:nvPr/>
              </p:nvCxnSpPr>
              <p:spPr>
                <a:xfrm flipV="1">
                  <a:off x="3552298" y="3682013"/>
                  <a:ext cx="680552" cy="134190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6" name="直接连接符 35"/>
                <p:cNvCxnSpPr>
                  <a:stCxn id="68" idx="0"/>
                  <a:endCxn id="65" idx="4"/>
                </p:cNvCxnSpPr>
                <p:nvPr/>
              </p:nvCxnSpPr>
              <p:spPr>
                <a:xfrm flipH="1" flipV="1">
                  <a:off x="3317968" y="2581627"/>
                  <a:ext cx="208874" cy="243174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" name="直接连接符 36"/>
                <p:cNvCxnSpPr>
                  <a:stCxn id="65" idx="1"/>
                  <a:endCxn id="52" idx="4"/>
                </p:cNvCxnSpPr>
                <p:nvPr/>
              </p:nvCxnSpPr>
              <p:spPr>
                <a:xfrm flipH="1" flipV="1">
                  <a:off x="3245968" y="1921650"/>
                  <a:ext cx="46544" cy="59852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" name="直接连接符 37"/>
                <p:cNvCxnSpPr>
                  <a:stCxn id="59" idx="0"/>
                  <a:endCxn id="71" idx="4"/>
                </p:cNvCxnSpPr>
                <p:nvPr/>
              </p:nvCxnSpPr>
              <p:spPr>
                <a:xfrm flipV="1">
                  <a:off x="6960914" y="3689168"/>
                  <a:ext cx="84641" cy="188994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9" name="直接连接符 38"/>
                <p:cNvCxnSpPr>
                  <a:stCxn id="71" idx="3"/>
                  <a:endCxn id="70" idx="7"/>
                </p:cNvCxnSpPr>
                <p:nvPr/>
              </p:nvCxnSpPr>
              <p:spPr>
                <a:xfrm flipH="1">
                  <a:off x="5572974" y="3678624"/>
                  <a:ext cx="1447125" cy="216968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0" name="直接连接符 39"/>
                <p:cNvCxnSpPr>
                  <a:stCxn id="70" idx="6"/>
                  <a:endCxn id="59" idx="2"/>
                </p:cNvCxnSpPr>
                <p:nvPr/>
              </p:nvCxnSpPr>
              <p:spPr>
                <a:xfrm flipV="1">
                  <a:off x="5583518" y="5615109"/>
                  <a:ext cx="1341396" cy="25865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1" name="直接连接符 40"/>
                <p:cNvCxnSpPr>
                  <a:stCxn id="70" idx="5"/>
                  <a:endCxn id="62" idx="1"/>
                </p:cNvCxnSpPr>
                <p:nvPr/>
              </p:nvCxnSpPr>
              <p:spPr>
                <a:xfrm>
                  <a:off x="5572974" y="5899217"/>
                  <a:ext cx="527898" cy="2444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2" name="直接连接符 41"/>
                <p:cNvCxnSpPr>
                  <a:stCxn id="69" idx="0"/>
                  <a:endCxn id="64" idx="3"/>
                </p:cNvCxnSpPr>
                <p:nvPr/>
              </p:nvCxnSpPr>
              <p:spPr>
                <a:xfrm flipV="1">
                  <a:off x="4268850" y="2871133"/>
                  <a:ext cx="382447" cy="77488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3" name="直接连接符 42"/>
                <p:cNvCxnSpPr>
                  <a:stCxn id="68" idx="6"/>
                  <a:endCxn id="70" idx="2"/>
                </p:cNvCxnSpPr>
                <p:nvPr/>
              </p:nvCxnSpPr>
              <p:spPr>
                <a:xfrm>
                  <a:off x="3562842" y="5049372"/>
                  <a:ext cx="1948676" cy="82438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4" name="直接连接符 43"/>
                <p:cNvCxnSpPr>
                  <a:stCxn id="57" idx="6"/>
                  <a:endCxn id="68" idx="2"/>
                </p:cNvCxnSpPr>
                <p:nvPr/>
              </p:nvCxnSpPr>
              <p:spPr>
                <a:xfrm>
                  <a:off x="2723516" y="4804810"/>
                  <a:ext cx="767326" cy="244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5" name="直接连接符 44"/>
                <p:cNvCxnSpPr>
                  <a:stCxn id="60" idx="7"/>
                  <a:endCxn id="68" idx="3"/>
                </p:cNvCxnSpPr>
                <p:nvPr/>
              </p:nvCxnSpPr>
              <p:spPr>
                <a:xfrm flipV="1">
                  <a:off x="3271424" y="5074828"/>
                  <a:ext cx="229962" cy="5105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6" name="直接连接符 45"/>
                <p:cNvCxnSpPr>
                  <a:stCxn id="61" idx="0"/>
                  <a:endCxn id="68" idx="5"/>
                </p:cNvCxnSpPr>
                <p:nvPr/>
              </p:nvCxnSpPr>
              <p:spPr>
                <a:xfrm flipH="1" flipV="1">
                  <a:off x="3552298" y="5074828"/>
                  <a:ext cx="539139" cy="105875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7" name="直接连接符 46"/>
                <p:cNvCxnSpPr>
                  <a:stCxn id="61" idx="7"/>
                  <a:endCxn id="70" idx="2"/>
                </p:cNvCxnSpPr>
                <p:nvPr/>
              </p:nvCxnSpPr>
              <p:spPr>
                <a:xfrm flipV="1">
                  <a:off x="4116893" y="5873761"/>
                  <a:ext cx="1394625" cy="270367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6" name="文本框 5"/>
            <p:cNvSpPr txBox="1"/>
            <p:nvPr/>
          </p:nvSpPr>
          <p:spPr>
            <a:xfrm>
              <a:off x="6610899" y="1009427"/>
              <a:ext cx="1107126" cy="10112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200" b="1" dirty="0">
                  <a:solidFill>
                    <a:schemeClr val="bg1"/>
                  </a:solidFill>
                  <a:latin typeface="方正兰亭粗黑简体" panose="02000000000000000000" pitchFamily="2" charset="-122"/>
                  <a:ea typeface="方正兰亭粗黑简体" panose="02000000000000000000" pitchFamily="2" charset="-122"/>
                </a:rPr>
                <a:t>2</a:t>
              </a:r>
              <a:endParaRPr lang="en-US" altLang="zh-CN" sz="825" b="1" dirty="0">
                <a:solidFill>
                  <a:schemeClr val="bg1"/>
                </a:solidFill>
                <a:latin typeface="方正兰亭粗黑简体" panose="02000000000000000000" pitchFamily="2" charset="-122"/>
                <a:ea typeface="方正兰亭粗黑简体" panose="02000000000000000000" pitchFamily="2" charset="-122"/>
              </a:endParaRPr>
            </a:p>
          </p:txBody>
        </p:sp>
        <p:sp>
          <p:nvSpPr>
            <p:cNvPr id="7" name="弧形 6"/>
            <p:cNvSpPr/>
            <p:nvPr/>
          </p:nvSpPr>
          <p:spPr>
            <a:xfrm rot="20705087">
              <a:off x="5896029" y="1413987"/>
              <a:ext cx="2542304" cy="475742"/>
            </a:xfrm>
            <a:prstGeom prst="arc">
              <a:avLst>
                <a:gd name="adj1" fmla="val 20946925"/>
                <a:gd name="adj2" fmla="val 11464655"/>
              </a:avLst>
            </a:prstGeom>
            <a:ln w="19050">
              <a:solidFill>
                <a:srgbClr val="9D819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</p:grpSp>
      <p:sp>
        <p:nvSpPr>
          <p:cNvPr id="72" name="文本框 71"/>
          <p:cNvSpPr txBox="1"/>
          <p:nvPr/>
        </p:nvSpPr>
        <p:spPr>
          <a:xfrm>
            <a:off x="1041984" y="517240"/>
            <a:ext cx="2104064" cy="4589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系统框架</a:t>
            </a:r>
            <a:endParaRPr lang="en-US" altLang="zh-CN" sz="75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73" name="直接连接符 72"/>
          <p:cNvCxnSpPr/>
          <p:nvPr/>
        </p:nvCxnSpPr>
        <p:spPr>
          <a:xfrm flipH="1">
            <a:off x="1925706" y="3435846"/>
            <a:ext cx="5886654" cy="0"/>
          </a:xfrm>
          <a:prstGeom prst="line">
            <a:avLst/>
          </a:prstGeom>
          <a:ln w="3175">
            <a:solidFill>
              <a:schemeClr val="bg1">
                <a:alpha val="3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7" name="组合 76"/>
          <p:cNvGrpSpPr/>
          <p:nvPr/>
        </p:nvGrpSpPr>
        <p:grpSpPr>
          <a:xfrm>
            <a:off x="7697517" y="2965503"/>
            <a:ext cx="486054" cy="486054"/>
            <a:chOff x="10262562" y="3923133"/>
            <a:chExt cx="648072" cy="648072"/>
          </a:xfrm>
        </p:grpSpPr>
        <p:sp>
          <p:nvSpPr>
            <p:cNvPr id="78" name="圆角矩形 77"/>
            <p:cNvSpPr/>
            <p:nvPr/>
          </p:nvSpPr>
          <p:spPr>
            <a:xfrm>
              <a:off x="10262562" y="3923133"/>
              <a:ext cx="648072" cy="648072"/>
            </a:xfrm>
            <a:prstGeom prst="roundRect">
              <a:avLst/>
            </a:prstGeom>
            <a:solidFill>
              <a:schemeClr val="bg1">
                <a:alpha val="3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>
                <a:solidFill>
                  <a:schemeClr val="bg1"/>
                </a:solidFill>
              </a:endParaRPr>
            </a:p>
          </p:txBody>
        </p:sp>
        <p:sp>
          <p:nvSpPr>
            <p:cNvPr id="79" name="Freeform 41"/>
            <p:cNvSpPr>
              <a:spLocks noEditPoints="1"/>
            </p:cNvSpPr>
            <p:nvPr/>
          </p:nvSpPr>
          <p:spPr bwMode="auto">
            <a:xfrm>
              <a:off x="10377113" y="4037684"/>
              <a:ext cx="418970" cy="418970"/>
            </a:xfrm>
            <a:custGeom>
              <a:avLst/>
              <a:gdLst>
                <a:gd name="T0" fmla="*/ 128 w 256"/>
                <a:gd name="T1" fmla="*/ 0 h 256"/>
                <a:gd name="T2" fmla="*/ 0 w 256"/>
                <a:gd name="T3" fmla="*/ 128 h 256"/>
                <a:gd name="T4" fmla="*/ 128 w 256"/>
                <a:gd name="T5" fmla="*/ 256 h 256"/>
                <a:gd name="T6" fmla="*/ 256 w 256"/>
                <a:gd name="T7" fmla="*/ 128 h 256"/>
                <a:gd name="T8" fmla="*/ 128 w 256"/>
                <a:gd name="T9" fmla="*/ 0 h 256"/>
                <a:gd name="T10" fmla="*/ 135 w 256"/>
                <a:gd name="T11" fmla="*/ 200 h 256"/>
                <a:gd name="T12" fmla="*/ 119 w 256"/>
                <a:gd name="T13" fmla="*/ 200 h 256"/>
                <a:gd name="T14" fmla="*/ 112 w 256"/>
                <a:gd name="T15" fmla="*/ 192 h 256"/>
                <a:gd name="T16" fmla="*/ 111 w 256"/>
                <a:gd name="T17" fmla="*/ 176 h 256"/>
                <a:gd name="T18" fmla="*/ 119 w 256"/>
                <a:gd name="T19" fmla="*/ 168 h 256"/>
                <a:gd name="T20" fmla="*/ 135 w 256"/>
                <a:gd name="T21" fmla="*/ 168 h 256"/>
                <a:gd name="T22" fmla="*/ 143 w 256"/>
                <a:gd name="T23" fmla="*/ 176 h 256"/>
                <a:gd name="T24" fmla="*/ 144 w 256"/>
                <a:gd name="T25" fmla="*/ 192 h 256"/>
                <a:gd name="T26" fmla="*/ 135 w 256"/>
                <a:gd name="T27" fmla="*/ 200 h 256"/>
                <a:gd name="T28" fmla="*/ 170 w 256"/>
                <a:gd name="T29" fmla="*/ 109 h 256"/>
                <a:gd name="T30" fmla="*/ 154 w 256"/>
                <a:gd name="T31" fmla="*/ 125 h 256"/>
                <a:gd name="T32" fmla="*/ 145 w 256"/>
                <a:gd name="T33" fmla="*/ 132 h 256"/>
                <a:gd name="T34" fmla="*/ 144 w 256"/>
                <a:gd name="T35" fmla="*/ 135 h 256"/>
                <a:gd name="T36" fmla="*/ 143 w 256"/>
                <a:gd name="T37" fmla="*/ 144 h 256"/>
                <a:gd name="T38" fmla="*/ 135 w 256"/>
                <a:gd name="T39" fmla="*/ 152 h 256"/>
                <a:gd name="T40" fmla="*/ 120 w 256"/>
                <a:gd name="T41" fmla="*/ 152 h 256"/>
                <a:gd name="T42" fmla="*/ 112 w 256"/>
                <a:gd name="T43" fmla="*/ 144 h 256"/>
                <a:gd name="T44" fmla="*/ 112 w 256"/>
                <a:gd name="T45" fmla="*/ 140 h 256"/>
                <a:gd name="T46" fmla="*/ 115 w 256"/>
                <a:gd name="T47" fmla="*/ 124 h 256"/>
                <a:gd name="T48" fmla="*/ 123 w 256"/>
                <a:gd name="T49" fmla="*/ 113 h 256"/>
                <a:gd name="T50" fmla="*/ 134 w 256"/>
                <a:gd name="T51" fmla="*/ 104 h 256"/>
                <a:gd name="T52" fmla="*/ 143 w 256"/>
                <a:gd name="T53" fmla="*/ 96 h 256"/>
                <a:gd name="T54" fmla="*/ 144 w 256"/>
                <a:gd name="T55" fmla="*/ 93 h 256"/>
                <a:gd name="T56" fmla="*/ 140 w 256"/>
                <a:gd name="T57" fmla="*/ 86 h 256"/>
                <a:gd name="T58" fmla="*/ 128 w 256"/>
                <a:gd name="T59" fmla="*/ 83 h 256"/>
                <a:gd name="T60" fmla="*/ 117 w 256"/>
                <a:gd name="T61" fmla="*/ 86 h 256"/>
                <a:gd name="T62" fmla="*/ 111 w 256"/>
                <a:gd name="T63" fmla="*/ 97 h 256"/>
                <a:gd name="T64" fmla="*/ 103 w 256"/>
                <a:gd name="T65" fmla="*/ 104 h 256"/>
                <a:gd name="T66" fmla="*/ 103 w 256"/>
                <a:gd name="T67" fmla="*/ 104 h 256"/>
                <a:gd name="T68" fmla="*/ 87 w 256"/>
                <a:gd name="T69" fmla="*/ 102 h 256"/>
                <a:gd name="T70" fmla="*/ 81 w 256"/>
                <a:gd name="T71" fmla="*/ 99 h 256"/>
                <a:gd name="T72" fmla="*/ 80 w 256"/>
                <a:gd name="T73" fmla="*/ 93 h 256"/>
                <a:gd name="T74" fmla="*/ 95 w 256"/>
                <a:gd name="T75" fmla="*/ 66 h 256"/>
                <a:gd name="T76" fmla="*/ 128 w 256"/>
                <a:gd name="T77" fmla="*/ 56 h 256"/>
                <a:gd name="T78" fmla="*/ 162 w 256"/>
                <a:gd name="T79" fmla="*/ 66 h 256"/>
                <a:gd name="T80" fmla="*/ 176 w 256"/>
                <a:gd name="T81" fmla="*/ 92 h 256"/>
                <a:gd name="T82" fmla="*/ 170 w 256"/>
                <a:gd name="T83" fmla="*/ 109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56" h="256">
                  <a:moveTo>
                    <a:pt x="128" y="0"/>
                  </a:moveTo>
                  <a:cubicBezTo>
                    <a:pt x="57" y="0"/>
                    <a:pt x="0" y="57"/>
                    <a:pt x="0" y="128"/>
                  </a:cubicBezTo>
                  <a:cubicBezTo>
                    <a:pt x="0" y="199"/>
                    <a:pt x="57" y="256"/>
                    <a:pt x="128" y="256"/>
                  </a:cubicBezTo>
                  <a:cubicBezTo>
                    <a:pt x="199" y="256"/>
                    <a:pt x="256" y="199"/>
                    <a:pt x="256" y="128"/>
                  </a:cubicBezTo>
                  <a:cubicBezTo>
                    <a:pt x="256" y="57"/>
                    <a:pt x="199" y="0"/>
                    <a:pt x="128" y="0"/>
                  </a:cubicBezTo>
                  <a:close/>
                  <a:moveTo>
                    <a:pt x="135" y="200"/>
                  </a:moveTo>
                  <a:cubicBezTo>
                    <a:pt x="119" y="200"/>
                    <a:pt x="119" y="200"/>
                    <a:pt x="119" y="200"/>
                  </a:cubicBezTo>
                  <a:cubicBezTo>
                    <a:pt x="115" y="200"/>
                    <a:pt x="112" y="196"/>
                    <a:pt x="112" y="192"/>
                  </a:cubicBezTo>
                  <a:cubicBezTo>
                    <a:pt x="111" y="176"/>
                    <a:pt x="111" y="176"/>
                    <a:pt x="111" y="176"/>
                  </a:cubicBezTo>
                  <a:cubicBezTo>
                    <a:pt x="111" y="171"/>
                    <a:pt x="115" y="168"/>
                    <a:pt x="119" y="168"/>
                  </a:cubicBezTo>
                  <a:cubicBezTo>
                    <a:pt x="135" y="168"/>
                    <a:pt x="135" y="168"/>
                    <a:pt x="135" y="168"/>
                  </a:cubicBezTo>
                  <a:cubicBezTo>
                    <a:pt x="140" y="168"/>
                    <a:pt x="143" y="172"/>
                    <a:pt x="143" y="176"/>
                  </a:cubicBezTo>
                  <a:cubicBezTo>
                    <a:pt x="144" y="192"/>
                    <a:pt x="144" y="192"/>
                    <a:pt x="144" y="192"/>
                  </a:cubicBezTo>
                  <a:cubicBezTo>
                    <a:pt x="144" y="196"/>
                    <a:pt x="140" y="200"/>
                    <a:pt x="135" y="200"/>
                  </a:cubicBezTo>
                  <a:close/>
                  <a:moveTo>
                    <a:pt x="170" y="109"/>
                  </a:moveTo>
                  <a:cubicBezTo>
                    <a:pt x="167" y="114"/>
                    <a:pt x="162" y="119"/>
                    <a:pt x="154" y="125"/>
                  </a:cubicBezTo>
                  <a:cubicBezTo>
                    <a:pt x="148" y="130"/>
                    <a:pt x="146" y="132"/>
                    <a:pt x="145" y="132"/>
                  </a:cubicBezTo>
                  <a:cubicBezTo>
                    <a:pt x="145" y="133"/>
                    <a:pt x="144" y="134"/>
                    <a:pt x="144" y="135"/>
                  </a:cubicBezTo>
                  <a:cubicBezTo>
                    <a:pt x="143" y="136"/>
                    <a:pt x="143" y="138"/>
                    <a:pt x="143" y="144"/>
                  </a:cubicBezTo>
                  <a:cubicBezTo>
                    <a:pt x="143" y="149"/>
                    <a:pt x="139" y="152"/>
                    <a:pt x="135" y="152"/>
                  </a:cubicBezTo>
                  <a:cubicBezTo>
                    <a:pt x="120" y="152"/>
                    <a:pt x="120" y="152"/>
                    <a:pt x="120" y="152"/>
                  </a:cubicBezTo>
                  <a:cubicBezTo>
                    <a:pt x="116" y="152"/>
                    <a:pt x="112" y="149"/>
                    <a:pt x="112" y="144"/>
                  </a:cubicBezTo>
                  <a:cubicBezTo>
                    <a:pt x="112" y="140"/>
                    <a:pt x="112" y="140"/>
                    <a:pt x="112" y="140"/>
                  </a:cubicBezTo>
                  <a:cubicBezTo>
                    <a:pt x="112" y="134"/>
                    <a:pt x="113" y="129"/>
                    <a:pt x="115" y="124"/>
                  </a:cubicBezTo>
                  <a:cubicBezTo>
                    <a:pt x="117" y="120"/>
                    <a:pt x="119" y="117"/>
                    <a:pt x="123" y="113"/>
                  </a:cubicBezTo>
                  <a:cubicBezTo>
                    <a:pt x="125" y="111"/>
                    <a:pt x="129" y="108"/>
                    <a:pt x="134" y="104"/>
                  </a:cubicBezTo>
                  <a:cubicBezTo>
                    <a:pt x="141" y="99"/>
                    <a:pt x="142" y="97"/>
                    <a:pt x="143" y="96"/>
                  </a:cubicBezTo>
                  <a:cubicBezTo>
                    <a:pt x="144" y="95"/>
                    <a:pt x="144" y="94"/>
                    <a:pt x="144" y="93"/>
                  </a:cubicBezTo>
                  <a:cubicBezTo>
                    <a:pt x="144" y="92"/>
                    <a:pt x="143" y="89"/>
                    <a:pt x="140" y="86"/>
                  </a:cubicBezTo>
                  <a:cubicBezTo>
                    <a:pt x="137" y="84"/>
                    <a:pt x="132" y="83"/>
                    <a:pt x="128" y="83"/>
                  </a:cubicBezTo>
                  <a:cubicBezTo>
                    <a:pt x="124" y="83"/>
                    <a:pt x="120" y="84"/>
                    <a:pt x="117" y="86"/>
                  </a:cubicBezTo>
                  <a:cubicBezTo>
                    <a:pt x="114" y="88"/>
                    <a:pt x="112" y="92"/>
                    <a:pt x="111" y="97"/>
                  </a:cubicBezTo>
                  <a:cubicBezTo>
                    <a:pt x="111" y="101"/>
                    <a:pt x="107" y="104"/>
                    <a:pt x="103" y="104"/>
                  </a:cubicBezTo>
                  <a:cubicBezTo>
                    <a:pt x="103" y="104"/>
                    <a:pt x="103" y="104"/>
                    <a:pt x="103" y="104"/>
                  </a:cubicBezTo>
                  <a:cubicBezTo>
                    <a:pt x="87" y="102"/>
                    <a:pt x="87" y="102"/>
                    <a:pt x="87" y="102"/>
                  </a:cubicBezTo>
                  <a:cubicBezTo>
                    <a:pt x="85" y="102"/>
                    <a:pt x="83" y="101"/>
                    <a:pt x="81" y="99"/>
                  </a:cubicBezTo>
                  <a:cubicBezTo>
                    <a:pt x="80" y="97"/>
                    <a:pt x="79" y="95"/>
                    <a:pt x="80" y="93"/>
                  </a:cubicBezTo>
                  <a:cubicBezTo>
                    <a:pt x="82" y="81"/>
                    <a:pt x="87" y="72"/>
                    <a:pt x="95" y="66"/>
                  </a:cubicBezTo>
                  <a:cubicBezTo>
                    <a:pt x="104" y="59"/>
                    <a:pt x="115" y="56"/>
                    <a:pt x="128" y="56"/>
                  </a:cubicBezTo>
                  <a:cubicBezTo>
                    <a:pt x="142" y="56"/>
                    <a:pt x="153" y="60"/>
                    <a:pt x="162" y="66"/>
                  </a:cubicBezTo>
                  <a:cubicBezTo>
                    <a:pt x="171" y="73"/>
                    <a:pt x="176" y="82"/>
                    <a:pt x="176" y="92"/>
                  </a:cubicBezTo>
                  <a:cubicBezTo>
                    <a:pt x="176" y="99"/>
                    <a:pt x="174" y="104"/>
                    <a:pt x="170" y="10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013">
                <a:solidFill>
                  <a:sysClr val="windowText" lastClr="000000"/>
                </a:solidFill>
                <a:latin typeface="Calibri"/>
                <a:ea typeface="宋体"/>
              </a:endParaRPr>
            </a:p>
          </p:txBody>
        </p:sp>
      </p:grpSp>
      <p:grpSp>
        <p:nvGrpSpPr>
          <p:cNvPr id="80" name="组合 79"/>
          <p:cNvGrpSpPr/>
          <p:nvPr/>
        </p:nvGrpSpPr>
        <p:grpSpPr>
          <a:xfrm>
            <a:off x="7697517" y="1761660"/>
            <a:ext cx="486054" cy="486054"/>
            <a:chOff x="8903518" y="2489855"/>
            <a:chExt cx="648072" cy="648072"/>
          </a:xfrm>
        </p:grpSpPr>
        <p:sp>
          <p:nvSpPr>
            <p:cNvPr id="81" name="圆角矩形 80"/>
            <p:cNvSpPr/>
            <p:nvPr/>
          </p:nvSpPr>
          <p:spPr>
            <a:xfrm>
              <a:off x="8903518" y="2489855"/>
              <a:ext cx="648072" cy="648072"/>
            </a:xfrm>
            <a:prstGeom prst="roundRect">
              <a:avLst/>
            </a:prstGeom>
            <a:solidFill>
              <a:schemeClr val="bg1">
                <a:alpha val="3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>
                <a:solidFill>
                  <a:schemeClr val="bg1"/>
                </a:solidFill>
              </a:endParaRPr>
            </a:p>
          </p:txBody>
        </p:sp>
        <p:sp>
          <p:nvSpPr>
            <p:cNvPr id="82" name="Freeform 45"/>
            <p:cNvSpPr>
              <a:spLocks/>
            </p:cNvSpPr>
            <p:nvPr/>
          </p:nvSpPr>
          <p:spPr bwMode="auto">
            <a:xfrm flipH="1">
              <a:off x="9018069" y="2604406"/>
              <a:ext cx="418970" cy="418970"/>
            </a:xfrm>
            <a:custGeom>
              <a:avLst/>
              <a:gdLst>
                <a:gd name="T0" fmla="*/ 240 w 256"/>
                <a:gd name="T1" fmla="*/ 88 h 256"/>
                <a:gd name="T2" fmla="*/ 168 w 256"/>
                <a:gd name="T3" fmla="*/ 88 h 256"/>
                <a:gd name="T4" fmla="*/ 168 w 256"/>
                <a:gd name="T5" fmla="*/ 16 h 256"/>
                <a:gd name="T6" fmla="*/ 152 w 256"/>
                <a:gd name="T7" fmla="*/ 0 h 256"/>
                <a:gd name="T8" fmla="*/ 104 w 256"/>
                <a:gd name="T9" fmla="*/ 0 h 256"/>
                <a:gd name="T10" fmla="*/ 88 w 256"/>
                <a:gd name="T11" fmla="*/ 16 h 256"/>
                <a:gd name="T12" fmla="*/ 88 w 256"/>
                <a:gd name="T13" fmla="*/ 88 h 256"/>
                <a:gd name="T14" fmla="*/ 16 w 256"/>
                <a:gd name="T15" fmla="*/ 88 h 256"/>
                <a:gd name="T16" fmla="*/ 0 w 256"/>
                <a:gd name="T17" fmla="*/ 104 h 256"/>
                <a:gd name="T18" fmla="*/ 0 w 256"/>
                <a:gd name="T19" fmla="*/ 152 h 256"/>
                <a:gd name="T20" fmla="*/ 16 w 256"/>
                <a:gd name="T21" fmla="*/ 168 h 256"/>
                <a:gd name="T22" fmla="*/ 88 w 256"/>
                <a:gd name="T23" fmla="*/ 168 h 256"/>
                <a:gd name="T24" fmla="*/ 88 w 256"/>
                <a:gd name="T25" fmla="*/ 240 h 256"/>
                <a:gd name="T26" fmla="*/ 104 w 256"/>
                <a:gd name="T27" fmla="*/ 256 h 256"/>
                <a:gd name="T28" fmla="*/ 152 w 256"/>
                <a:gd name="T29" fmla="*/ 256 h 256"/>
                <a:gd name="T30" fmla="*/ 168 w 256"/>
                <a:gd name="T31" fmla="*/ 240 h 256"/>
                <a:gd name="T32" fmla="*/ 168 w 256"/>
                <a:gd name="T33" fmla="*/ 168 h 256"/>
                <a:gd name="T34" fmla="*/ 240 w 256"/>
                <a:gd name="T35" fmla="*/ 168 h 256"/>
                <a:gd name="T36" fmla="*/ 256 w 256"/>
                <a:gd name="T37" fmla="*/ 152 h 256"/>
                <a:gd name="T38" fmla="*/ 256 w 256"/>
                <a:gd name="T39" fmla="*/ 104 h 256"/>
                <a:gd name="T40" fmla="*/ 240 w 256"/>
                <a:gd name="T41" fmla="*/ 88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6" h="256">
                  <a:moveTo>
                    <a:pt x="240" y="88"/>
                  </a:moveTo>
                  <a:cubicBezTo>
                    <a:pt x="168" y="88"/>
                    <a:pt x="168" y="88"/>
                    <a:pt x="168" y="88"/>
                  </a:cubicBezTo>
                  <a:cubicBezTo>
                    <a:pt x="168" y="16"/>
                    <a:pt x="168" y="16"/>
                    <a:pt x="168" y="16"/>
                  </a:cubicBezTo>
                  <a:cubicBezTo>
                    <a:pt x="168" y="7"/>
                    <a:pt x="161" y="0"/>
                    <a:pt x="152" y="0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95" y="0"/>
                    <a:pt x="88" y="7"/>
                    <a:pt x="88" y="16"/>
                  </a:cubicBezTo>
                  <a:cubicBezTo>
                    <a:pt x="88" y="88"/>
                    <a:pt x="88" y="88"/>
                    <a:pt x="88" y="88"/>
                  </a:cubicBezTo>
                  <a:cubicBezTo>
                    <a:pt x="16" y="88"/>
                    <a:pt x="16" y="88"/>
                    <a:pt x="16" y="88"/>
                  </a:cubicBezTo>
                  <a:cubicBezTo>
                    <a:pt x="7" y="88"/>
                    <a:pt x="0" y="95"/>
                    <a:pt x="0" y="104"/>
                  </a:cubicBezTo>
                  <a:cubicBezTo>
                    <a:pt x="0" y="152"/>
                    <a:pt x="0" y="152"/>
                    <a:pt x="0" y="152"/>
                  </a:cubicBezTo>
                  <a:cubicBezTo>
                    <a:pt x="0" y="161"/>
                    <a:pt x="7" y="168"/>
                    <a:pt x="16" y="168"/>
                  </a:cubicBezTo>
                  <a:cubicBezTo>
                    <a:pt x="88" y="168"/>
                    <a:pt x="88" y="168"/>
                    <a:pt x="88" y="168"/>
                  </a:cubicBezTo>
                  <a:cubicBezTo>
                    <a:pt x="88" y="240"/>
                    <a:pt x="88" y="240"/>
                    <a:pt x="88" y="240"/>
                  </a:cubicBezTo>
                  <a:cubicBezTo>
                    <a:pt x="88" y="249"/>
                    <a:pt x="95" y="256"/>
                    <a:pt x="104" y="256"/>
                  </a:cubicBezTo>
                  <a:cubicBezTo>
                    <a:pt x="152" y="256"/>
                    <a:pt x="152" y="256"/>
                    <a:pt x="152" y="256"/>
                  </a:cubicBezTo>
                  <a:cubicBezTo>
                    <a:pt x="161" y="256"/>
                    <a:pt x="168" y="249"/>
                    <a:pt x="168" y="240"/>
                  </a:cubicBezTo>
                  <a:cubicBezTo>
                    <a:pt x="168" y="168"/>
                    <a:pt x="168" y="168"/>
                    <a:pt x="168" y="168"/>
                  </a:cubicBezTo>
                  <a:cubicBezTo>
                    <a:pt x="240" y="168"/>
                    <a:pt x="240" y="168"/>
                    <a:pt x="240" y="168"/>
                  </a:cubicBezTo>
                  <a:cubicBezTo>
                    <a:pt x="249" y="168"/>
                    <a:pt x="256" y="161"/>
                    <a:pt x="256" y="152"/>
                  </a:cubicBezTo>
                  <a:cubicBezTo>
                    <a:pt x="256" y="104"/>
                    <a:pt x="256" y="104"/>
                    <a:pt x="256" y="104"/>
                  </a:cubicBezTo>
                  <a:cubicBezTo>
                    <a:pt x="256" y="95"/>
                    <a:pt x="249" y="88"/>
                    <a:pt x="240" y="8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685800">
                <a:defRPr/>
              </a:pPr>
              <a:endParaRPr lang="zh-CN" altLang="en-US" sz="1350">
                <a:solidFill>
                  <a:sysClr val="windowText" lastClr="000000"/>
                </a:solidFill>
                <a:latin typeface="Calibri"/>
                <a:ea typeface="宋体"/>
              </a:endParaRPr>
            </a:p>
          </p:txBody>
        </p:sp>
      </p:grpSp>
      <p:grpSp>
        <p:nvGrpSpPr>
          <p:cNvPr id="83" name="组合 82"/>
          <p:cNvGrpSpPr/>
          <p:nvPr/>
        </p:nvGrpSpPr>
        <p:grpSpPr>
          <a:xfrm>
            <a:off x="7697517" y="2363582"/>
            <a:ext cx="486054" cy="486054"/>
            <a:chOff x="10262562" y="3132604"/>
            <a:chExt cx="648072" cy="648072"/>
          </a:xfrm>
        </p:grpSpPr>
        <p:sp>
          <p:nvSpPr>
            <p:cNvPr id="84" name="圆角矩形 83"/>
            <p:cNvSpPr/>
            <p:nvPr/>
          </p:nvSpPr>
          <p:spPr>
            <a:xfrm>
              <a:off x="10262562" y="3132604"/>
              <a:ext cx="648072" cy="648072"/>
            </a:xfrm>
            <a:prstGeom prst="roundRect">
              <a:avLst/>
            </a:prstGeom>
            <a:solidFill>
              <a:schemeClr val="bg1">
                <a:alpha val="3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>
                <a:solidFill>
                  <a:schemeClr val="bg1"/>
                </a:solidFill>
              </a:endParaRPr>
            </a:p>
          </p:txBody>
        </p:sp>
        <p:sp>
          <p:nvSpPr>
            <p:cNvPr id="85" name="Freeform 50"/>
            <p:cNvSpPr>
              <a:spLocks noEditPoints="1"/>
            </p:cNvSpPr>
            <p:nvPr/>
          </p:nvSpPr>
          <p:spPr bwMode="auto">
            <a:xfrm flipH="1">
              <a:off x="10384153" y="3291960"/>
              <a:ext cx="411930" cy="329360"/>
            </a:xfrm>
            <a:custGeom>
              <a:avLst/>
              <a:gdLst>
                <a:gd name="T0" fmla="*/ 0 w 208"/>
                <a:gd name="T1" fmla="*/ 168 h 184"/>
                <a:gd name="T2" fmla="*/ 16 w 208"/>
                <a:gd name="T3" fmla="*/ 184 h 184"/>
                <a:gd name="T4" fmla="*/ 192 w 208"/>
                <a:gd name="T5" fmla="*/ 184 h 184"/>
                <a:gd name="T6" fmla="*/ 208 w 208"/>
                <a:gd name="T7" fmla="*/ 168 h 184"/>
                <a:gd name="T8" fmla="*/ 208 w 208"/>
                <a:gd name="T9" fmla="*/ 0 h 184"/>
                <a:gd name="T10" fmla="*/ 0 w 208"/>
                <a:gd name="T11" fmla="*/ 0 h 184"/>
                <a:gd name="T12" fmla="*/ 0 w 208"/>
                <a:gd name="T13" fmla="*/ 168 h 184"/>
                <a:gd name="T14" fmla="*/ 160 w 208"/>
                <a:gd name="T15" fmla="*/ 16 h 184"/>
                <a:gd name="T16" fmla="*/ 176 w 208"/>
                <a:gd name="T17" fmla="*/ 16 h 184"/>
                <a:gd name="T18" fmla="*/ 176 w 208"/>
                <a:gd name="T19" fmla="*/ 152 h 184"/>
                <a:gd name="T20" fmla="*/ 160 w 208"/>
                <a:gd name="T21" fmla="*/ 152 h 184"/>
                <a:gd name="T22" fmla="*/ 160 w 208"/>
                <a:gd name="T23" fmla="*/ 16 h 184"/>
                <a:gd name="T24" fmla="*/ 128 w 208"/>
                <a:gd name="T25" fmla="*/ 16 h 184"/>
                <a:gd name="T26" fmla="*/ 144 w 208"/>
                <a:gd name="T27" fmla="*/ 16 h 184"/>
                <a:gd name="T28" fmla="*/ 144 w 208"/>
                <a:gd name="T29" fmla="*/ 152 h 184"/>
                <a:gd name="T30" fmla="*/ 128 w 208"/>
                <a:gd name="T31" fmla="*/ 152 h 184"/>
                <a:gd name="T32" fmla="*/ 128 w 208"/>
                <a:gd name="T33" fmla="*/ 16 h 184"/>
                <a:gd name="T34" fmla="*/ 96 w 208"/>
                <a:gd name="T35" fmla="*/ 16 h 184"/>
                <a:gd name="T36" fmla="*/ 112 w 208"/>
                <a:gd name="T37" fmla="*/ 16 h 184"/>
                <a:gd name="T38" fmla="*/ 112 w 208"/>
                <a:gd name="T39" fmla="*/ 152 h 184"/>
                <a:gd name="T40" fmla="*/ 96 w 208"/>
                <a:gd name="T41" fmla="*/ 152 h 184"/>
                <a:gd name="T42" fmla="*/ 96 w 208"/>
                <a:gd name="T43" fmla="*/ 16 h 184"/>
                <a:gd name="T44" fmla="*/ 64 w 208"/>
                <a:gd name="T45" fmla="*/ 16 h 184"/>
                <a:gd name="T46" fmla="*/ 80 w 208"/>
                <a:gd name="T47" fmla="*/ 16 h 184"/>
                <a:gd name="T48" fmla="*/ 80 w 208"/>
                <a:gd name="T49" fmla="*/ 152 h 184"/>
                <a:gd name="T50" fmla="*/ 64 w 208"/>
                <a:gd name="T51" fmla="*/ 152 h 184"/>
                <a:gd name="T52" fmla="*/ 64 w 208"/>
                <a:gd name="T53" fmla="*/ 16 h 184"/>
                <a:gd name="T54" fmla="*/ 32 w 208"/>
                <a:gd name="T55" fmla="*/ 16 h 184"/>
                <a:gd name="T56" fmla="*/ 48 w 208"/>
                <a:gd name="T57" fmla="*/ 16 h 184"/>
                <a:gd name="T58" fmla="*/ 48 w 208"/>
                <a:gd name="T59" fmla="*/ 152 h 184"/>
                <a:gd name="T60" fmla="*/ 32 w 208"/>
                <a:gd name="T61" fmla="*/ 152 h 184"/>
                <a:gd name="T62" fmla="*/ 32 w 208"/>
                <a:gd name="T63" fmla="*/ 16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08" h="184">
                  <a:moveTo>
                    <a:pt x="0" y="168"/>
                  </a:moveTo>
                  <a:cubicBezTo>
                    <a:pt x="0" y="177"/>
                    <a:pt x="7" y="184"/>
                    <a:pt x="16" y="184"/>
                  </a:cubicBezTo>
                  <a:cubicBezTo>
                    <a:pt x="192" y="184"/>
                    <a:pt x="192" y="184"/>
                    <a:pt x="192" y="184"/>
                  </a:cubicBezTo>
                  <a:cubicBezTo>
                    <a:pt x="201" y="184"/>
                    <a:pt x="208" y="177"/>
                    <a:pt x="208" y="168"/>
                  </a:cubicBezTo>
                  <a:cubicBezTo>
                    <a:pt x="208" y="0"/>
                    <a:pt x="208" y="0"/>
                    <a:pt x="208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68"/>
                  </a:lnTo>
                  <a:close/>
                  <a:moveTo>
                    <a:pt x="160" y="16"/>
                  </a:moveTo>
                  <a:cubicBezTo>
                    <a:pt x="176" y="16"/>
                    <a:pt x="176" y="16"/>
                    <a:pt x="176" y="16"/>
                  </a:cubicBezTo>
                  <a:cubicBezTo>
                    <a:pt x="176" y="152"/>
                    <a:pt x="176" y="152"/>
                    <a:pt x="176" y="152"/>
                  </a:cubicBezTo>
                  <a:cubicBezTo>
                    <a:pt x="160" y="152"/>
                    <a:pt x="160" y="152"/>
                    <a:pt x="160" y="152"/>
                  </a:cubicBezTo>
                  <a:lnTo>
                    <a:pt x="160" y="16"/>
                  </a:lnTo>
                  <a:close/>
                  <a:moveTo>
                    <a:pt x="128" y="16"/>
                  </a:moveTo>
                  <a:cubicBezTo>
                    <a:pt x="144" y="16"/>
                    <a:pt x="144" y="16"/>
                    <a:pt x="144" y="16"/>
                  </a:cubicBezTo>
                  <a:cubicBezTo>
                    <a:pt x="144" y="152"/>
                    <a:pt x="144" y="152"/>
                    <a:pt x="144" y="152"/>
                  </a:cubicBezTo>
                  <a:cubicBezTo>
                    <a:pt x="128" y="152"/>
                    <a:pt x="128" y="152"/>
                    <a:pt x="128" y="152"/>
                  </a:cubicBezTo>
                  <a:lnTo>
                    <a:pt x="128" y="16"/>
                  </a:lnTo>
                  <a:close/>
                  <a:moveTo>
                    <a:pt x="96" y="16"/>
                  </a:moveTo>
                  <a:cubicBezTo>
                    <a:pt x="112" y="16"/>
                    <a:pt x="112" y="16"/>
                    <a:pt x="112" y="16"/>
                  </a:cubicBezTo>
                  <a:cubicBezTo>
                    <a:pt x="112" y="152"/>
                    <a:pt x="112" y="152"/>
                    <a:pt x="112" y="152"/>
                  </a:cubicBezTo>
                  <a:cubicBezTo>
                    <a:pt x="96" y="152"/>
                    <a:pt x="96" y="152"/>
                    <a:pt x="96" y="152"/>
                  </a:cubicBezTo>
                  <a:lnTo>
                    <a:pt x="96" y="16"/>
                  </a:lnTo>
                  <a:close/>
                  <a:moveTo>
                    <a:pt x="64" y="16"/>
                  </a:moveTo>
                  <a:cubicBezTo>
                    <a:pt x="80" y="16"/>
                    <a:pt x="80" y="16"/>
                    <a:pt x="80" y="16"/>
                  </a:cubicBezTo>
                  <a:cubicBezTo>
                    <a:pt x="80" y="152"/>
                    <a:pt x="80" y="152"/>
                    <a:pt x="80" y="152"/>
                  </a:cubicBezTo>
                  <a:cubicBezTo>
                    <a:pt x="64" y="152"/>
                    <a:pt x="64" y="152"/>
                    <a:pt x="64" y="152"/>
                  </a:cubicBezTo>
                  <a:lnTo>
                    <a:pt x="64" y="16"/>
                  </a:lnTo>
                  <a:close/>
                  <a:moveTo>
                    <a:pt x="32" y="16"/>
                  </a:moveTo>
                  <a:cubicBezTo>
                    <a:pt x="48" y="16"/>
                    <a:pt x="48" y="16"/>
                    <a:pt x="48" y="16"/>
                  </a:cubicBezTo>
                  <a:cubicBezTo>
                    <a:pt x="48" y="152"/>
                    <a:pt x="48" y="152"/>
                    <a:pt x="48" y="152"/>
                  </a:cubicBezTo>
                  <a:cubicBezTo>
                    <a:pt x="32" y="152"/>
                    <a:pt x="32" y="152"/>
                    <a:pt x="32" y="152"/>
                  </a:cubicBezTo>
                  <a:lnTo>
                    <a:pt x="32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013">
                <a:solidFill>
                  <a:sysClr val="windowText" lastClr="000000"/>
                </a:solidFill>
                <a:latin typeface="Calibri"/>
                <a:ea typeface="宋体"/>
              </a:endParaRPr>
            </a:p>
          </p:txBody>
        </p:sp>
      </p:grpSp>
      <p:cxnSp>
        <p:nvCxnSpPr>
          <p:cNvPr id="86" name="直接连接符 85"/>
          <p:cNvCxnSpPr/>
          <p:nvPr/>
        </p:nvCxnSpPr>
        <p:spPr>
          <a:xfrm flipH="1">
            <a:off x="3389368" y="2232372"/>
            <a:ext cx="4422992" cy="0"/>
          </a:xfrm>
          <a:prstGeom prst="line">
            <a:avLst/>
          </a:prstGeom>
          <a:ln w="3175">
            <a:solidFill>
              <a:schemeClr val="bg1">
                <a:alpha val="3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直接连接符 86"/>
          <p:cNvCxnSpPr/>
          <p:nvPr/>
        </p:nvCxnSpPr>
        <p:spPr>
          <a:xfrm flipH="1">
            <a:off x="3811411" y="2839550"/>
            <a:ext cx="4000949" cy="0"/>
          </a:xfrm>
          <a:prstGeom prst="line">
            <a:avLst/>
          </a:prstGeom>
          <a:ln w="3175">
            <a:solidFill>
              <a:schemeClr val="bg1">
                <a:alpha val="3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流程图: 决策 88"/>
          <p:cNvSpPr/>
          <p:nvPr/>
        </p:nvSpPr>
        <p:spPr>
          <a:xfrm>
            <a:off x="2195736" y="1519805"/>
            <a:ext cx="1237634" cy="1157448"/>
          </a:xfrm>
          <a:prstGeom prst="flowChartDecision">
            <a:avLst/>
          </a:prstGeom>
          <a:solidFill>
            <a:srgbClr val="FFFFFF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800">
                <a:latin typeface="HelveticaNeueLT Pro 35 Th" pitchFamily="34" charset="0"/>
              </a:rPr>
              <a:t>20%</a:t>
            </a:r>
            <a:endParaRPr lang="zh-CN" altLang="en-US" sz="1800">
              <a:latin typeface="HelveticaNeueLT Pro 35 Th" pitchFamily="34" charset="0"/>
            </a:endParaRPr>
          </a:p>
        </p:txBody>
      </p:sp>
      <p:sp>
        <p:nvSpPr>
          <p:cNvPr id="90" name="流程图: 决策 89"/>
          <p:cNvSpPr/>
          <p:nvPr/>
        </p:nvSpPr>
        <p:spPr>
          <a:xfrm>
            <a:off x="798552" y="1810631"/>
            <a:ext cx="1887727" cy="1838975"/>
          </a:xfrm>
          <a:prstGeom prst="flowChartDecision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400">
                <a:latin typeface="HelveticaNeueLT Pro 35 Th" pitchFamily="34" charset="0"/>
              </a:rPr>
              <a:t>55%</a:t>
            </a:r>
            <a:endParaRPr lang="zh-CN" altLang="en-US" sz="2400">
              <a:latin typeface="HelveticaNeueLT Pro 35 Th" pitchFamily="34" charset="0"/>
            </a:endParaRPr>
          </a:p>
        </p:txBody>
      </p:sp>
      <p:sp>
        <p:nvSpPr>
          <p:cNvPr id="91" name="流程图: 决策 90"/>
          <p:cNvSpPr/>
          <p:nvPr/>
        </p:nvSpPr>
        <p:spPr>
          <a:xfrm>
            <a:off x="2883995" y="2284280"/>
            <a:ext cx="1010746" cy="945260"/>
          </a:xfrm>
          <a:prstGeom prst="flowChartDecision">
            <a:avLst/>
          </a:prstGeom>
          <a:solidFill>
            <a:srgbClr val="FFFFFF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500">
                <a:latin typeface="HelveticaNeueLT Pro 35 Th" pitchFamily="34" charset="0"/>
              </a:rPr>
              <a:t>10%</a:t>
            </a:r>
            <a:endParaRPr lang="zh-CN" altLang="en-US" sz="1500">
              <a:latin typeface="HelveticaNeueLT Pro 35 Th" pitchFamily="34" charset="0"/>
            </a:endParaRPr>
          </a:p>
        </p:txBody>
      </p:sp>
      <p:sp>
        <p:nvSpPr>
          <p:cNvPr id="92" name="矩形 91"/>
          <p:cNvSpPr/>
          <p:nvPr/>
        </p:nvSpPr>
        <p:spPr>
          <a:xfrm>
            <a:off x="5933723" y="1832019"/>
            <a:ext cx="1056700" cy="3539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700" dirty="0">
                <a:solidFill>
                  <a:schemeClr val="bg1"/>
                </a:solidFill>
                <a:latin typeface="华文黑体" pitchFamily="2" charset="-122"/>
                <a:ea typeface="华文黑体" pitchFamily="2" charset="-122"/>
                <a:cs typeface="华文黑体" pitchFamily="2" charset="-122"/>
              </a:rPr>
              <a:t>手牌分类</a:t>
            </a:r>
            <a:endParaRPr lang="zh-CN" altLang="en-US" sz="1700" dirty="0">
              <a:solidFill>
                <a:schemeClr val="bg1"/>
              </a:solidFill>
              <a:latin typeface="华文细黑" pitchFamily="2" charset="-122"/>
              <a:ea typeface="华文细黑" pitchFamily="2" charset="-122"/>
              <a:cs typeface="华文黑体" pitchFamily="2" charset="-122"/>
            </a:endParaRPr>
          </a:p>
        </p:txBody>
      </p:sp>
      <p:sp>
        <p:nvSpPr>
          <p:cNvPr id="93" name="矩形 92"/>
          <p:cNvSpPr/>
          <p:nvPr/>
        </p:nvSpPr>
        <p:spPr>
          <a:xfrm>
            <a:off x="5933723" y="2430160"/>
            <a:ext cx="1492716" cy="3539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700" dirty="0">
                <a:solidFill>
                  <a:schemeClr val="bg1"/>
                </a:solidFill>
                <a:latin typeface="华文黑体" pitchFamily="2" charset="-122"/>
                <a:ea typeface="华文黑体" pitchFamily="2" charset="-122"/>
                <a:cs typeface="华文黑体" pitchFamily="2" charset="-122"/>
              </a:rPr>
              <a:t>主动出牌策略</a:t>
            </a:r>
            <a:endParaRPr lang="zh-CN" altLang="en-US" sz="1700" dirty="0">
              <a:solidFill>
                <a:schemeClr val="bg1"/>
              </a:solidFill>
              <a:latin typeface="华文细黑" pitchFamily="2" charset="-122"/>
              <a:ea typeface="华文细黑" pitchFamily="2" charset="-122"/>
              <a:cs typeface="华文黑体" pitchFamily="2" charset="-122"/>
            </a:endParaRPr>
          </a:p>
        </p:txBody>
      </p:sp>
      <p:sp>
        <p:nvSpPr>
          <p:cNvPr id="94" name="矩形 93"/>
          <p:cNvSpPr/>
          <p:nvPr/>
        </p:nvSpPr>
        <p:spPr>
          <a:xfrm>
            <a:off x="5931545" y="3031558"/>
            <a:ext cx="1492716" cy="3539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700" dirty="0">
                <a:solidFill>
                  <a:schemeClr val="bg1"/>
                </a:solidFill>
                <a:latin typeface="华文黑体" pitchFamily="2" charset="-122"/>
                <a:ea typeface="华文黑体" pitchFamily="2" charset="-122"/>
                <a:cs typeface="华文黑体" pitchFamily="2" charset="-122"/>
              </a:rPr>
              <a:t>被动出牌策略</a:t>
            </a:r>
            <a:endParaRPr lang="zh-CN" altLang="en-US" sz="1700" dirty="0">
              <a:solidFill>
                <a:schemeClr val="bg1"/>
              </a:solidFill>
              <a:latin typeface="华文细黑" pitchFamily="2" charset="-122"/>
              <a:ea typeface="华文细黑" pitchFamily="2" charset="-122"/>
              <a:cs typeface="华文黑体" pitchFamily="2" charset="-122"/>
            </a:endParaRPr>
          </a:p>
        </p:txBody>
      </p:sp>
      <p:sp>
        <p:nvSpPr>
          <p:cNvPr id="96" name="流程图: 决策 95"/>
          <p:cNvSpPr/>
          <p:nvPr/>
        </p:nvSpPr>
        <p:spPr>
          <a:xfrm>
            <a:off x="2038192" y="2809742"/>
            <a:ext cx="1503190" cy="1464369"/>
          </a:xfrm>
          <a:prstGeom prst="flowChartDecision">
            <a:avLst/>
          </a:prstGeom>
          <a:solidFill>
            <a:srgbClr val="FFFFFF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800">
                <a:latin typeface="HelveticaNeueLT Pro 35 Th" pitchFamily="34" charset="0"/>
              </a:rPr>
              <a:t>35%</a:t>
            </a:r>
            <a:endParaRPr lang="zh-CN" altLang="en-US" sz="1800">
              <a:latin typeface="HelveticaNeueLT Pro 35 Th" pitchFamily="34" charset="0"/>
            </a:endParaRPr>
          </a:p>
        </p:txBody>
      </p:sp>
      <p:sp>
        <p:nvSpPr>
          <p:cNvPr id="97" name="矩形 96">
            <a:extLst>
              <a:ext uri="{FF2B5EF4-FFF2-40B4-BE49-F238E27FC236}">
                <a16:creationId xmlns:a16="http://schemas.microsoft.com/office/drawing/2014/main" id="{8B83E651-4862-4E65-A36B-31FF1B2B1013}"/>
              </a:ext>
            </a:extLst>
          </p:cNvPr>
          <p:cNvSpPr/>
          <p:nvPr/>
        </p:nvSpPr>
        <p:spPr>
          <a:xfrm>
            <a:off x="3678513" y="425317"/>
            <a:ext cx="1808508" cy="76944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altLang="zh-CN" sz="44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AI</a:t>
            </a:r>
            <a:r>
              <a:rPr lang="zh-CN" altLang="en-US" sz="44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算法</a:t>
            </a:r>
            <a:endParaRPr lang="zh-CN" altLang="en-US" sz="4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2177291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0">
        <p14:switch dir="r"/>
      </p:transition>
    </mc:Choice>
    <mc:Fallback xmlns="">
      <p:transition spd="slow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500"/>
                            </p:stCondLst>
                            <p:childTnLst>
                              <p:par>
                                <p:cTn id="1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1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2" presetClass="entr" presetSubtype="2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3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22" presetClass="entr" presetSubtype="2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7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2" presetClass="entr" presetSubtype="2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0" dur="500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41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31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22" presetClass="entr" presetSubtype="2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3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2" presetClass="entr" presetSubtype="2" fill="hold" grpId="0" nodeType="withEffect">
                                  <p:stCondLst>
                                    <p:cond delay="22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6" dur="500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57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31" presetClass="entr" presetSubtype="0" fill="hold" grpId="0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31" presetClass="entr" presetSubtype="0" fill="hold" grpId="0" nodeType="withEffect">
                                  <p:stCondLst>
                                    <p:cond delay="35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6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2" grpId="0"/>
      <p:bldP spid="89" grpId="0" animBg="1"/>
      <p:bldP spid="90" grpId="0" animBg="1"/>
      <p:bldP spid="91" grpId="0" animBg="1"/>
      <p:bldP spid="92" grpId="0"/>
      <p:bldP spid="93" grpId="0"/>
      <p:bldP spid="94" grpId="0"/>
      <p:bldP spid="96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3" name="图片 34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37" y="1"/>
            <a:ext cx="9215178" cy="5182928"/>
          </a:xfrm>
          <a:prstGeom prst="rect">
            <a:avLst/>
          </a:prstGeom>
        </p:spPr>
      </p:pic>
      <p:pic>
        <p:nvPicPr>
          <p:cNvPr id="344" name="图片 34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71922" y="1186772"/>
            <a:ext cx="5219564" cy="2047072"/>
          </a:xfrm>
          <a:prstGeom prst="rect">
            <a:avLst/>
          </a:prstGeom>
        </p:spPr>
      </p:pic>
      <p:pic>
        <p:nvPicPr>
          <p:cNvPr id="345" name="图片 34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437263" y="3242574"/>
            <a:ext cx="5219564" cy="2047072"/>
          </a:xfrm>
          <a:prstGeom prst="rect">
            <a:avLst/>
          </a:prstGeom>
        </p:spPr>
      </p:pic>
      <p:pic>
        <p:nvPicPr>
          <p:cNvPr id="346" name="图片 34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-303900" y="-517167"/>
            <a:ext cx="5219564" cy="2047072"/>
          </a:xfrm>
          <a:prstGeom prst="rect">
            <a:avLst/>
          </a:prstGeom>
        </p:spPr>
      </p:pic>
      <p:pic>
        <p:nvPicPr>
          <p:cNvPr id="347" name="图片 34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1700000">
            <a:off x="4250710" y="3219168"/>
            <a:ext cx="5219564" cy="2047072"/>
          </a:xfrm>
          <a:prstGeom prst="rect">
            <a:avLst/>
          </a:prstGeom>
        </p:spPr>
      </p:pic>
      <p:pic>
        <p:nvPicPr>
          <p:cNvPr id="348" name="图片 34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9646" y="864211"/>
            <a:ext cx="3684377" cy="3680594"/>
          </a:xfrm>
          <a:prstGeom prst="rect">
            <a:avLst/>
          </a:prstGeom>
        </p:spPr>
      </p:pic>
      <p:sp>
        <p:nvSpPr>
          <p:cNvPr id="349" name="十六角星 348"/>
          <p:cNvSpPr/>
          <p:nvPr/>
        </p:nvSpPr>
        <p:spPr>
          <a:xfrm>
            <a:off x="1738707" y="731149"/>
            <a:ext cx="3940758" cy="3940758"/>
          </a:xfrm>
          <a:prstGeom prst="star16">
            <a:avLst>
              <a:gd name="adj" fmla="val 49459"/>
            </a:avLst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013"/>
          </a:p>
        </p:txBody>
      </p:sp>
      <p:grpSp>
        <p:nvGrpSpPr>
          <p:cNvPr id="350" name="组合 349"/>
          <p:cNvGrpSpPr/>
          <p:nvPr/>
        </p:nvGrpSpPr>
        <p:grpSpPr>
          <a:xfrm>
            <a:off x="1710487" y="698660"/>
            <a:ext cx="4000340" cy="3996585"/>
            <a:chOff x="2280648" y="931545"/>
            <a:chExt cx="5333787" cy="5328780"/>
          </a:xfrm>
        </p:grpSpPr>
        <p:sp>
          <p:nvSpPr>
            <p:cNvPr id="351" name="椭圆 350"/>
            <p:cNvSpPr/>
            <p:nvPr/>
          </p:nvSpPr>
          <p:spPr>
            <a:xfrm>
              <a:off x="3903037" y="1131665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  <p:sp>
          <p:nvSpPr>
            <p:cNvPr id="352" name="椭圆 351"/>
            <p:cNvSpPr/>
            <p:nvPr/>
          </p:nvSpPr>
          <p:spPr>
            <a:xfrm>
              <a:off x="4916848" y="931545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  <p:sp>
          <p:nvSpPr>
            <p:cNvPr id="353" name="椭圆 352"/>
            <p:cNvSpPr/>
            <p:nvPr/>
          </p:nvSpPr>
          <p:spPr>
            <a:xfrm>
              <a:off x="5937928" y="1131169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  <p:sp>
          <p:nvSpPr>
            <p:cNvPr id="354" name="椭圆 353"/>
            <p:cNvSpPr/>
            <p:nvPr/>
          </p:nvSpPr>
          <p:spPr>
            <a:xfrm>
              <a:off x="6763087" y="1701497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  <p:sp>
          <p:nvSpPr>
            <p:cNvPr id="355" name="椭圆 354"/>
            <p:cNvSpPr/>
            <p:nvPr/>
          </p:nvSpPr>
          <p:spPr>
            <a:xfrm>
              <a:off x="3057568" y="1697250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  <p:sp>
          <p:nvSpPr>
            <p:cNvPr id="356" name="椭圆 355"/>
            <p:cNvSpPr/>
            <p:nvPr/>
          </p:nvSpPr>
          <p:spPr>
            <a:xfrm>
              <a:off x="2481128" y="2556341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  <p:sp>
          <p:nvSpPr>
            <p:cNvPr id="357" name="椭圆 356"/>
            <p:cNvSpPr/>
            <p:nvPr/>
          </p:nvSpPr>
          <p:spPr>
            <a:xfrm>
              <a:off x="7344374" y="2556341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  <p:sp>
          <p:nvSpPr>
            <p:cNvPr id="358" name="椭圆 357"/>
            <p:cNvSpPr/>
            <p:nvPr/>
          </p:nvSpPr>
          <p:spPr>
            <a:xfrm>
              <a:off x="7542435" y="3548037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  <p:sp>
          <p:nvSpPr>
            <p:cNvPr id="359" name="椭圆 358"/>
            <p:cNvSpPr/>
            <p:nvPr/>
          </p:nvSpPr>
          <p:spPr>
            <a:xfrm>
              <a:off x="2280648" y="3548037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  <p:sp>
          <p:nvSpPr>
            <p:cNvPr id="360" name="椭圆 359"/>
            <p:cNvSpPr/>
            <p:nvPr/>
          </p:nvSpPr>
          <p:spPr>
            <a:xfrm>
              <a:off x="2499116" y="4616410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  <p:sp>
          <p:nvSpPr>
            <p:cNvPr id="361" name="椭圆 360"/>
            <p:cNvSpPr/>
            <p:nvPr/>
          </p:nvSpPr>
          <p:spPr>
            <a:xfrm>
              <a:off x="7321514" y="4589735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  <p:sp>
          <p:nvSpPr>
            <p:cNvPr id="362" name="椭圆 361"/>
            <p:cNvSpPr/>
            <p:nvPr/>
          </p:nvSpPr>
          <p:spPr>
            <a:xfrm>
              <a:off x="6772514" y="5426709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  <p:sp>
          <p:nvSpPr>
            <p:cNvPr id="363" name="椭圆 362"/>
            <p:cNvSpPr/>
            <p:nvPr/>
          </p:nvSpPr>
          <p:spPr>
            <a:xfrm>
              <a:off x="3057568" y="5422462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  <p:sp>
          <p:nvSpPr>
            <p:cNvPr id="364" name="椭圆 363"/>
            <p:cNvSpPr/>
            <p:nvPr/>
          </p:nvSpPr>
          <p:spPr>
            <a:xfrm>
              <a:off x="3903037" y="5981184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  <p:sp>
          <p:nvSpPr>
            <p:cNvPr id="365" name="椭圆 364"/>
            <p:cNvSpPr/>
            <p:nvPr/>
          </p:nvSpPr>
          <p:spPr>
            <a:xfrm>
              <a:off x="5937928" y="5980688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  <p:sp>
          <p:nvSpPr>
            <p:cNvPr id="366" name="椭圆 365"/>
            <p:cNvSpPr/>
            <p:nvPr/>
          </p:nvSpPr>
          <p:spPr>
            <a:xfrm>
              <a:off x="4916848" y="6188325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  <p:sp>
          <p:nvSpPr>
            <p:cNvPr id="367" name="椭圆 366"/>
            <p:cNvSpPr/>
            <p:nvPr/>
          </p:nvSpPr>
          <p:spPr>
            <a:xfrm>
              <a:off x="4488353" y="2657277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  <p:sp>
          <p:nvSpPr>
            <p:cNvPr id="368" name="椭圆 367"/>
            <p:cNvSpPr/>
            <p:nvPr/>
          </p:nvSpPr>
          <p:spPr>
            <a:xfrm>
              <a:off x="3129568" y="2357227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  <p:sp>
          <p:nvSpPr>
            <p:cNvPr id="369" name="椭圆 368"/>
            <p:cNvSpPr/>
            <p:nvPr/>
          </p:nvSpPr>
          <p:spPr>
            <a:xfrm>
              <a:off x="6107323" y="2572227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  <p:sp>
          <p:nvSpPr>
            <p:cNvPr id="370" name="椭圆 369"/>
            <p:cNvSpPr/>
            <p:nvPr/>
          </p:nvSpPr>
          <p:spPr>
            <a:xfrm>
              <a:off x="5431118" y="1544823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  <p:sp>
          <p:nvSpPr>
            <p:cNvPr id="371" name="椭圆 370"/>
            <p:cNvSpPr/>
            <p:nvPr/>
          </p:nvSpPr>
          <p:spPr>
            <a:xfrm>
              <a:off x="3338442" y="4860972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  <p:sp>
          <p:nvSpPr>
            <p:cNvPr id="372" name="椭圆 371"/>
            <p:cNvSpPr/>
            <p:nvPr/>
          </p:nvSpPr>
          <p:spPr>
            <a:xfrm>
              <a:off x="4080450" y="3493613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  <p:sp>
          <p:nvSpPr>
            <p:cNvPr id="373" name="椭圆 372"/>
            <p:cNvSpPr/>
            <p:nvPr/>
          </p:nvSpPr>
          <p:spPr>
            <a:xfrm>
              <a:off x="5359118" y="5685361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  <p:sp>
          <p:nvSpPr>
            <p:cNvPr id="374" name="椭圆 373"/>
            <p:cNvSpPr/>
            <p:nvPr/>
          </p:nvSpPr>
          <p:spPr>
            <a:xfrm>
              <a:off x="6857155" y="3464768"/>
              <a:ext cx="72000" cy="7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</p:grpSp>
      <p:cxnSp>
        <p:nvCxnSpPr>
          <p:cNvPr id="375" name="直接连接符 374"/>
          <p:cNvCxnSpPr>
            <a:stCxn id="352" idx="4"/>
            <a:endCxn id="370" idx="0"/>
          </p:cNvCxnSpPr>
          <p:nvPr/>
        </p:nvCxnSpPr>
        <p:spPr>
          <a:xfrm>
            <a:off x="3714637" y="752660"/>
            <a:ext cx="385703" cy="405959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6" name="直接连接符 375"/>
          <p:cNvCxnSpPr>
            <a:stCxn id="351" idx="5"/>
            <a:endCxn id="370" idx="2"/>
          </p:cNvCxnSpPr>
          <p:nvPr/>
        </p:nvCxnSpPr>
        <p:spPr>
          <a:xfrm>
            <a:off x="2973371" y="894842"/>
            <a:ext cx="1099969" cy="290777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7" name="直接连接符 376"/>
          <p:cNvCxnSpPr>
            <a:stCxn id="368" idx="0"/>
            <a:endCxn id="351" idx="4"/>
          </p:cNvCxnSpPr>
          <p:nvPr/>
        </p:nvCxnSpPr>
        <p:spPr>
          <a:xfrm flipV="1">
            <a:off x="2374176" y="902749"/>
            <a:ext cx="580102" cy="865172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8" name="直接连接符 377"/>
          <p:cNvCxnSpPr>
            <a:stCxn id="373" idx="3"/>
            <a:endCxn id="366" idx="0"/>
          </p:cNvCxnSpPr>
          <p:nvPr/>
        </p:nvCxnSpPr>
        <p:spPr>
          <a:xfrm flipH="1">
            <a:off x="3714637" y="4310114"/>
            <a:ext cx="312611" cy="331131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9" name="直接连接符 378"/>
          <p:cNvCxnSpPr>
            <a:stCxn id="356" idx="6"/>
          </p:cNvCxnSpPr>
          <p:nvPr/>
        </p:nvCxnSpPr>
        <p:spPr>
          <a:xfrm flipV="1">
            <a:off x="1914846" y="1794921"/>
            <a:ext cx="432330" cy="149336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0" name="直接连接符 379"/>
          <p:cNvCxnSpPr>
            <a:stCxn id="368" idx="6"/>
            <a:endCxn id="367" idx="2"/>
          </p:cNvCxnSpPr>
          <p:nvPr/>
        </p:nvCxnSpPr>
        <p:spPr>
          <a:xfrm>
            <a:off x="2401177" y="1794921"/>
            <a:ext cx="965089" cy="225038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1" name="直接连接符 380"/>
          <p:cNvCxnSpPr>
            <a:stCxn id="367" idx="0"/>
            <a:endCxn id="370" idx="4"/>
          </p:cNvCxnSpPr>
          <p:nvPr/>
        </p:nvCxnSpPr>
        <p:spPr>
          <a:xfrm flipV="1">
            <a:off x="3393266" y="1212618"/>
            <a:ext cx="707074" cy="780341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2" name="直接连接符 381"/>
          <p:cNvCxnSpPr>
            <a:stCxn id="359" idx="7"/>
            <a:endCxn id="368" idx="3"/>
          </p:cNvCxnSpPr>
          <p:nvPr/>
        </p:nvCxnSpPr>
        <p:spPr>
          <a:xfrm flipV="1">
            <a:off x="1756578" y="1814013"/>
            <a:ext cx="598506" cy="854924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3" name="直接连接符 382"/>
          <p:cNvCxnSpPr>
            <a:stCxn id="368" idx="5"/>
            <a:endCxn id="372" idx="1"/>
          </p:cNvCxnSpPr>
          <p:nvPr/>
        </p:nvCxnSpPr>
        <p:spPr>
          <a:xfrm>
            <a:off x="2393269" y="1814013"/>
            <a:ext cx="674978" cy="814106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4" name="直接连接符 383"/>
          <p:cNvCxnSpPr>
            <a:stCxn id="370" idx="7"/>
            <a:endCxn id="353" idx="3"/>
          </p:cNvCxnSpPr>
          <p:nvPr/>
        </p:nvCxnSpPr>
        <p:spPr>
          <a:xfrm flipV="1">
            <a:off x="4119430" y="894470"/>
            <a:ext cx="341924" cy="272057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5" name="直接连接符 384"/>
          <p:cNvCxnSpPr>
            <a:stCxn id="370" idx="6"/>
            <a:endCxn id="354" idx="2"/>
          </p:cNvCxnSpPr>
          <p:nvPr/>
        </p:nvCxnSpPr>
        <p:spPr>
          <a:xfrm>
            <a:off x="4127340" y="1185618"/>
            <a:ext cx="944977" cy="117506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6" name="直接连接符 385"/>
          <p:cNvCxnSpPr>
            <a:stCxn id="368" idx="7"/>
            <a:endCxn id="370" idx="3"/>
          </p:cNvCxnSpPr>
          <p:nvPr/>
        </p:nvCxnSpPr>
        <p:spPr>
          <a:xfrm flipV="1">
            <a:off x="2393269" y="1204709"/>
            <a:ext cx="1687979" cy="571119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7" name="直接连接符 386"/>
          <p:cNvCxnSpPr>
            <a:stCxn id="370" idx="5"/>
            <a:endCxn id="369" idx="1"/>
          </p:cNvCxnSpPr>
          <p:nvPr/>
        </p:nvCxnSpPr>
        <p:spPr>
          <a:xfrm>
            <a:off x="4119432" y="1204709"/>
            <a:ext cx="468970" cy="732369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8" name="直接连接符 387"/>
          <p:cNvCxnSpPr>
            <a:stCxn id="367" idx="6"/>
            <a:endCxn id="369" idx="2"/>
          </p:cNvCxnSpPr>
          <p:nvPr/>
        </p:nvCxnSpPr>
        <p:spPr>
          <a:xfrm flipV="1">
            <a:off x="3420265" y="1956171"/>
            <a:ext cx="1160228" cy="63788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9" name="直接连接符 388"/>
          <p:cNvCxnSpPr>
            <a:stCxn id="369" idx="3"/>
            <a:endCxn id="373" idx="0"/>
          </p:cNvCxnSpPr>
          <p:nvPr/>
        </p:nvCxnSpPr>
        <p:spPr>
          <a:xfrm flipH="1">
            <a:off x="4046340" y="1975263"/>
            <a:ext cx="542062" cy="2288759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0" name="直接连接符 389"/>
          <p:cNvCxnSpPr>
            <a:stCxn id="369" idx="0"/>
            <a:endCxn id="354" idx="3"/>
          </p:cNvCxnSpPr>
          <p:nvPr/>
        </p:nvCxnSpPr>
        <p:spPr>
          <a:xfrm flipV="1">
            <a:off x="4607492" y="1322215"/>
            <a:ext cx="472731" cy="606956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1" name="直接连接符 390"/>
          <p:cNvCxnSpPr>
            <a:stCxn id="369" idx="5"/>
            <a:endCxn id="374" idx="1"/>
          </p:cNvCxnSpPr>
          <p:nvPr/>
        </p:nvCxnSpPr>
        <p:spPr>
          <a:xfrm>
            <a:off x="4626584" y="1975263"/>
            <a:ext cx="524190" cy="631222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2" name="直接连接符 391"/>
          <p:cNvCxnSpPr>
            <a:stCxn id="374" idx="0"/>
            <a:endCxn id="354" idx="4"/>
          </p:cNvCxnSpPr>
          <p:nvPr/>
        </p:nvCxnSpPr>
        <p:spPr>
          <a:xfrm flipH="1" flipV="1">
            <a:off x="5099315" y="1330124"/>
            <a:ext cx="70551" cy="1268453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3" name="直接连接符 392"/>
          <p:cNvCxnSpPr>
            <a:stCxn id="374" idx="7"/>
            <a:endCxn id="357" idx="3"/>
          </p:cNvCxnSpPr>
          <p:nvPr/>
        </p:nvCxnSpPr>
        <p:spPr>
          <a:xfrm flipV="1">
            <a:off x="5188960" y="1963348"/>
            <a:ext cx="327230" cy="643136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4" name="直接连接符 393"/>
          <p:cNvCxnSpPr>
            <a:stCxn id="361" idx="1"/>
            <a:endCxn id="374" idx="5"/>
          </p:cNvCxnSpPr>
          <p:nvPr/>
        </p:nvCxnSpPr>
        <p:spPr>
          <a:xfrm flipH="1" flipV="1">
            <a:off x="5188960" y="2644670"/>
            <a:ext cx="310085" cy="805541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5" name="直接连接符 394"/>
          <p:cNvCxnSpPr>
            <a:stCxn id="367" idx="4"/>
            <a:endCxn id="373" idx="1"/>
          </p:cNvCxnSpPr>
          <p:nvPr/>
        </p:nvCxnSpPr>
        <p:spPr>
          <a:xfrm>
            <a:off x="3393266" y="2046959"/>
            <a:ext cx="633982" cy="2224971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6" name="直接连接符 395"/>
          <p:cNvCxnSpPr>
            <a:stCxn id="372" idx="5"/>
            <a:endCxn id="373" idx="1"/>
          </p:cNvCxnSpPr>
          <p:nvPr/>
        </p:nvCxnSpPr>
        <p:spPr>
          <a:xfrm>
            <a:off x="3106430" y="2666303"/>
            <a:ext cx="920817" cy="1605627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7" name="直接连接符 396"/>
          <p:cNvCxnSpPr>
            <a:stCxn id="359" idx="5"/>
            <a:endCxn id="371" idx="1"/>
          </p:cNvCxnSpPr>
          <p:nvPr/>
        </p:nvCxnSpPr>
        <p:spPr>
          <a:xfrm>
            <a:off x="1756579" y="2707121"/>
            <a:ext cx="755162" cy="946517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8" name="直接连接符 397"/>
          <p:cNvCxnSpPr>
            <a:stCxn id="371" idx="7"/>
            <a:endCxn id="372" idx="2"/>
          </p:cNvCxnSpPr>
          <p:nvPr/>
        </p:nvCxnSpPr>
        <p:spPr>
          <a:xfrm flipV="1">
            <a:off x="2549924" y="2647211"/>
            <a:ext cx="510414" cy="1006427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9" name="直接连接符 398"/>
          <p:cNvCxnSpPr>
            <a:stCxn id="371" idx="0"/>
            <a:endCxn id="368" idx="4"/>
          </p:cNvCxnSpPr>
          <p:nvPr/>
        </p:nvCxnSpPr>
        <p:spPr>
          <a:xfrm flipH="1" flipV="1">
            <a:off x="2374177" y="1821922"/>
            <a:ext cx="156656" cy="1823809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0" name="直接连接符 399"/>
          <p:cNvCxnSpPr>
            <a:stCxn id="368" idx="1"/>
            <a:endCxn id="355" idx="4"/>
          </p:cNvCxnSpPr>
          <p:nvPr/>
        </p:nvCxnSpPr>
        <p:spPr>
          <a:xfrm flipH="1" flipV="1">
            <a:off x="2320176" y="1326939"/>
            <a:ext cx="34908" cy="448891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1" name="直接连接符 400"/>
          <p:cNvCxnSpPr>
            <a:stCxn id="362" idx="0"/>
            <a:endCxn id="374" idx="4"/>
          </p:cNvCxnSpPr>
          <p:nvPr/>
        </p:nvCxnSpPr>
        <p:spPr>
          <a:xfrm flipV="1">
            <a:off x="5106387" y="2652576"/>
            <a:ext cx="63481" cy="1417456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2" name="直接连接符 401"/>
          <p:cNvCxnSpPr>
            <a:stCxn id="374" idx="3"/>
            <a:endCxn id="373" idx="7"/>
          </p:cNvCxnSpPr>
          <p:nvPr/>
        </p:nvCxnSpPr>
        <p:spPr>
          <a:xfrm flipH="1">
            <a:off x="4065432" y="2644669"/>
            <a:ext cx="1085344" cy="1627261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3" name="直接连接符 402"/>
          <p:cNvCxnSpPr>
            <a:stCxn id="373" idx="6"/>
            <a:endCxn id="362" idx="2"/>
          </p:cNvCxnSpPr>
          <p:nvPr/>
        </p:nvCxnSpPr>
        <p:spPr>
          <a:xfrm flipV="1">
            <a:off x="4073339" y="4097033"/>
            <a:ext cx="1006047" cy="193989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4" name="直接连接符 403"/>
          <p:cNvCxnSpPr>
            <a:stCxn id="373" idx="5"/>
            <a:endCxn id="365" idx="1"/>
          </p:cNvCxnSpPr>
          <p:nvPr/>
        </p:nvCxnSpPr>
        <p:spPr>
          <a:xfrm>
            <a:off x="4065430" y="4310114"/>
            <a:ext cx="395924" cy="183311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5" name="直接连接符 404"/>
          <p:cNvCxnSpPr>
            <a:stCxn id="372" idx="0"/>
            <a:endCxn id="367" idx="3"/>
          </p:cNvCxnSpPr>
          <p:nvPr/>
        </p:nvCxnSpPr>
        <p:spPr>
          <a:xfrm flipV="1">
            <a:off x="3087339" y="2039050"/>
            <a:ext cx="286835" cy="58116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6" name="直接连接符 405"/>
          <p:cNvCxnSpPr>
            <a:stCxn id="371" idx="6"/>
            <a:endCxn id="373" idx="2"/>
          </p:cNvCxnSpPr>
          <p:nvPr/>
        </p:nvCxnSpPr>
        <p:spPr>
          <a:xfrm>
            <a:off x="2557832" y="3672729"/>
            <a:ext cx="1461507" cy="618292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7" name="直接连接符 406"/>
          <p:cNvCxnSpPr>
            <a:stCxn id="360" idx="6"/>
            <a:endCxn id="371" idx="2"/>
          </p:cNvCxnSpPr>
          <p:nvPr/>
        </p:nvCxnSpPr>
        <p:spPr>
          <a:xfrm>
            <a:off x="1928338" y="3489307"/>
            <a:ext cx="575495" cy="183422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8" name="直接连接符 407"/>
          <p:cNvCxnSpPr>
            <a:stCxn id="363" idx="7"/>
            <a:endCxn id="371" idx="3"/>
          </p:cNvCxnSpPr>
          <p:nvPr/>
        </p:nvCxnSpPr>
        <p:spPr>
          <a:xfrm flipV="1">
            <a:off x="2339269" y="3691822"/>
            <a:ext cx="172472" cy="382934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9" name="直接连接符 408"/>
          <p:cNvCxnSpPr>
            <a:stCxn id="364" idx="0"/>
            <a:endCxn id="371" idx="5"/>
          </p:cNvCxnSpPr>
          <p:nvPr/>
        </p:nvCxnSpPr>
        <p:spPr>
          <a:xfrm flipH="1" flipV="1">
            <a:off x="2549925" y="3691822"/>
            <a:ext cx="404354" cy="794067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0" name="直接连接符 409"/>
          <p:cNvCxnSpPr>
            <a:stCxn id="364" idx="7"/>
            <a:endCxn id="373" idx="2"/>
          </p:cNvCxnSpPr>
          <p:nvPr/>
        </p:nvCxnSpPr>
        <p:spPr>
          <a:xfrm flipV="1">
            <a:off x="2973371" y="4291022"/>
            <a:ext cx="1045969" cy="202775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11" name="组合 410"/>
          <p:cNvGrpSpPr/>
          <p:nvPr/>
        </p:nvGrpSpPr>
        <p:grpSpPr>
          <a:xfrm>
            <a:off x="1712476" y="697607"/>
            <a:ext cx="4000340" cy="3996585"/>
            <a:chOff x="2433048" y="1083945"/>
            <a:chExt cx="5333787" cy="5328780"/>
          </a:xfrm>
        </p:grpSpPr>
        <p:sp>
          <p:nvSpPr>
            <p:cNvPr id="412" name="十六角星 411"/>
            <p:cNvSpPr/>
            <p:nvPr/>
          </p:nvSpPr>
          <p:spPr>
            <a:xfrm>
              <a:off x="2470676" y="1127265"/>
              <a:ext cx="5254344" cy="5254344"/>
            </a:xfrm>
            <a:prstGeom prst="star16">
              <a:avLst>
                <a:gd name="adj" fmla="val 49459"/>
              </a:avLst>
            </a:prstGeom>
            <a:noFill/>
            <a:ln w="317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  <p:grpSp>
          <p:nvGrpSpPr>
            <p:cNvPr id="413" name="组合 412"/>
            <p:cNvGrpSpPr/>
            <p:nvPr/>
          </p:nvGrpSpPr>
          <p:grpSpPr>
            <a:xfrm>
              <a:off x="2433048" y="1083945"/>
              <a:ext cx="5333787" cy="5328780"/>
              <a:chOff x="2280648" y="931545"/>
              <a:chExt cx="5333787" cy="5328780"/>
            </a:xfrm>
          </p:grpSpPr>
          <p:sp>
            <p:nvSpPr>
              <p:cNvPr id="450" name="椭圆 449"/>
              <p:cNvSpPr/>
              <p:nvPr/>
            </p:nvSpPr>
            <p:spPr>
              <a:xfrm>
                <a:off x="3903037" y="1131665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sp>
            <p:nvSpPr>
              <p:cNvPr id="451" name="椭圆 450"/>
              <p:cNvSpPr/>
              <p:nvPr/>
            </p:nvSpPr>
            <p:spPr>
              <a:xfrm>
                <a:off x="4916848" y="931545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sp>
            <p:nvSpPr>
              <p:cNvPr id="452" name="椭圆 451"/>
              <p:cNvSpPr/>
              <p:nvPr/>
            </p:nvSpPr>
            <p:spPr>
              <a:xfrm>
                <a:off x="5937928" y="1131169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sp>
            <p:nvSpPr>
              <p:cNvPr id="453" name="椭圆 452"/>
              <p:cNvSpPr/>
              <p:nvPr/>
            </p:nvSpPr>
            <p:spPr>
              <a:xfrm>
                <a:off x="6763087" y="1701497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sp>
            <p:nvSpPr>
              <p:cNvPr id="454" name="椭圆 453"/>
              <p:cNvSpPr/>
              <p:nvPr/>
            </p:nvSpPr>
            <p:spPr>
              <a:xfrm>
                <a:off x="3057568" y="1697250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sp>
            <p:nvSpPr>
              <p:cNvPr id="455" name="椭圆 454"/>
              <p:cNvSpPr/>
              <p:nvPr/>
            </p:nvSpPr>
            <p:spPr>
              <a:xfrm>
                <a:off x="2481128" y="2556341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sp>
            <p:nvSpPr>
              <p:cNvPr id="456" name="椭圆 455"/>
              <p:cNvSpPr/>
              <p:nvPr/>
            </p:nvSpPr>
            <p:spPr>
              <a:xfrm>
                <a:off x="7344374" y="2556341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sp>
            <p:nvSpPr>
              <p:cNvPr id="457" name="椭圆 456"/>
              <p:cNvSpPr/>
              <p:nvPr/>
            </p:nvSpPr>
            <p:spPr>
              <a:xfrm>
                <a:off x="7542435" y="3548037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sp>
            <p:nvSpPr>
              <p:cNvPr id="458" name="椭圆 457"/>
              <p:cNvSpPr/>
              <p:nvPr/>
            </p:nvSpPr>
            <p:spPr>
              <a:xfrm>
                <a:off x="2280648" y="3548037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sp>
            <p:nvSpPr>
              <p:cNvPr id="459" name="椭圆 458"/>
              <p:cNvSpPr/>
              <p:nvPr/>
            </p:nvSpPr>
            <p:spPr>
              <a:xfrm>
                <a:off x="2499116" y="4616410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sp>
            <p:nvSpPr>
              <p:cNvPr id="460" name="椭圆 459"/>
              <p:cNvSpPr/>
              <p:nvPr/>
            </p:nvSpPr>
            <p:spPr>
              <a:xfrm>
                <a:off x="7321514" y="4589735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sp>
            <p:nvSpPr>
              <p:cNvPr id="461" name="椭圆 460"/>
              <p:cNvSpPr/>
              <p:nvPr/>
            </p:nvSpPr>
            <p:spPr>
              <a:xfrm>
                <a:off x="6772514" y="5426709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sp>
            <p:nvSpPr>
              <p:cNvPr id="462" name="椭圆 461"/>
              <p:cNvSpPr/>
              <p:nvPr/>
            </p:nvSpPr>
            <p:spPr>
              <a:xfrm>
                <a:off x="3057568" y="5422462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sp>
            <p:nvSpPr>
              <p:cNvPr id="463" name="椭圆 462"/>
              <p:cNvSpPr/>
              <p:nvPr/>
            </p:nvSpPr>
            <p:spPr>
              <a:xfrm>
                <a:off x="3903037" y="5981184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sp>
            <p:nvSpPr>
              <p:cNvPr id="464" name="椭圆 463"/>
              <p:cNvSpPr/>
              <p:nvPr/>
            </p:nvSpPr>
            <p:spPr>
              <a:xfrm>
                <a:off x="5937928" y="5980688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sp>
            <p:nvSpPr>
              <p:cNvPr id="465" name="椭圆 464"/>
              <p:cNvSpPr/>
              <p:nvPr/>
            </p:nvSpPr>
            <p:spPr>
              <a:xfrm>
                <a:off x="4916848" y="6188325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sp>
            <p:nvSpPr>
              <p:cNvPr id="466" name="椭圆 465"/>
              <p:cNvSpPr/>
              <p:nvPr/>
            </p:nvSpPr>
            <p:spPr>
              <a:xfrm>
                <a:off x="4488353" y="2657277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sp>
            <p:nvSpPr>
              <p:cNvPr id="467" name="椭圆 466"/>
              <p:cNvSpPr/>
              <p:nvPr/>
            </p:nvSpPr>
            <p:spPr>
              <a:xfrm>
                <a:off x="3129568" y="2357227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sp>
            <p:nvSpPr>
              <p:cNvPr id="468" name="椭圆 467"/>
              <p:cNvSpPr/>
              <p:nvPr/>
            </p:nvSpPr>
            <p:spPr>
              <a:xfrm>
                <a:off x="6107323" y="2572227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sp>
            <p:nvSpPr>
              <p:cNvPr id="469" name="椭圆 468"/>
              <p:cNvSpPr/>
              <p:nvPr/>
            </p:nvSpPr>
            <p:spPr>
              <a:xfrm>
                <a:off x="5431118" y="1544823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sp>
            <p:nvSpPr>
              <p:cNvPr id="470" name="椭圆 469"/>
              <p:cNvSpPr/>
              <p:nvPr/>
            </p:nvSpPr>
            <p:spPr>
              <a:xfrm>
                <a:off x="3338442" y="4860972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sp>
            <p:nvSpPr>
              <p:cNvPr id="471" name="椭圆 470"/>
              <p:cNvSpPr/>
              <p:nvPr/>
            </p:nvSpPr>
            <p:spPr>
              <a:xfrm>
                <a:off x="4080450" y="3493613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sp>
            <p:nvSpPr>
              <p:cNvPr id="472" name="椭圆 471"/>
              <p:cNvSpPr/>
              <p:nvPr/>
            </p:nvSpPr>
            <p:spPr>
              <a:xfrm>
                <a:off x="5359118" y="5685361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sp>
            <p:nvSpPr>
              <p:cNvPr id="473" name="椭圆 472"/>
              <p:cNvSpPr/>
              <p:nvPr/>
            </p:nvSpPr>
            <p:spPr>
              <a:xfrm>
                <a:off x="6857155" y="3464768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</p:grpSp>
        <p:cxnSp>
          <p:nvCxnSpPr>
            <p:cNvPr id="414" name="直接连接符 413"/>
            <p:cNvCxnSpPr>
              <a:stCxn id="451" idx="4"/>
              <a:endCxn id="469" idx="0"/>
            </p:cNvCxnSpPr>
            <p:nvPr/>
          </p:nvCxnSpPr>
          <p:spPr>
            <a:xfrm>
              <a:off x="5105248" y="1155945"/>
              <a:ext cx="514270" cy="541278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5" name="直接连接符 414"/>
            <p:cNvCxnSpPr>
              <a:stCxn id="450" idx="5"/>
              <a:endCxn id="469" idx="2"/>
            </p:cNvCxnSpPr>
            <p:nvPr/>
          </p:nvCxnSpPr>
          <p:spPr>
            <a:xfrm>
              <a:off x="4116893" y="1345521"/>
              <a:ext cx="1466625" cy="387702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6" name="直接连接符 415"/>
            <p:cNvCxnSpPr>
              <a:stCxn id="467" idx="0"/>
              <a:endCxn id="450" idx="4"/>
            </p:cNvCxnSpPr>
            <p:nvPr/>
          </p:nvCxnSpPr>
          <p:spPr>
            <a:xfrm flipV="1">
              <a:off x="3317968" y="1356065"/>
              <a:ext cx="773469" cy="1153562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7" name="直接连接符 416"/>
            <p:cNvCxnSpPr>
              <a:stCxn id="472" idx="3"/>
              <a:endCxn id="465" idx="0"/>
            </p:cNvCxnSpPr>
            <p:nvPr/>
          </p:nvCxnSpPr>
          <p:spPr>
            <a:xfrm flipH="1">
              <a:off x="5105248" y="5899217"/>
              <a:ext cx="416814" cy="441508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8" name="直接连接符 417"/>
            <p:cNvCxnSpPr>
              <a:stCxn id="455" idx="6"/>
            </p:cNvCxnSpPr>
            <p:nvPr/>
          </p:nvCxnSpPr>
          <p:spPr>
            <a:xfrm flipV="1">
              <a:off x="2705528" y="2545627"/>
              <a:ext cx="576440" cy="199114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9" name="直接连接符 418"/>
            <p:cNvCxnSpPr>
              <a:stCxn id="467" idx="6"/>
              <a:endCxn id="466" idx="2"/>
            </p:cNvCxnSpPr>
            <p:nvPr/>
          </p:nvCxnSpPr>
          <p:spPr>
            <a:xfrm>
              <a:off x="3353968" y="2545627"/>
              <a:ext cx="1286785" cy="30005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0" name="直接连接符 419"/>
            <p:cNvCxnSpPr>
              <a:stCxn id="466" idx="0"/>
              <a:endCxn id="469" idx="4"/>
            </p:cNvCxnSpPr>
            <p:nvPr/>
          </p:nvCxnSpPr>
          <p:spPr>
            <a:xfrm flipV="1">
              <a:off x="4676753" y="1769223"/>
              <a:ext cx="942765" cy="1040454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1" name="直接连接符 420"/>
            <p:cNvCxnSpPr>
              <a:stCxn id="458" idx="7"/>
              <a:endCxn id="467" idx="3"/>
            </p:cNvCxnSpPr>
            <p:nvPr/>
          </p:nvCxnSpPr>
          <p:spPr>
            <a:xfrm flipV="1">
              <a:off x="2494504" y="2571083"/>
              <a:ext cx="798008" cy="1139898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2" name="直接连接符 421"/>
            <p:cNvCxnSpPr>
              <a:stCxn id="467" idx="5"/>
              <a:endCxn id="471" idx="1"/>
            </p:cNvCxnSpPr>
            <p:nvPr/>
          </p:nvCxnSpPr>
          <p:spPr>
            <a:xfrm>
              <a:off x="3343424" y="2571083"/>
              <a:ext cx="899970" cy="1085474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3" name="直接连接符 422"/>
            <p:cNvCxnSpPr>
              <a:stCxn id="469" idx="7"/>
              <a:endCxn id="452" idx="3"/>
            </p:cNvCxnSpPr>
            <p:nvPr/>
          </p:nvCxnSpPr>
          <p:spPr>
            <a:xfrm flipV="1">
              <a:off x="5644974" y="1345025"/>
              <a:ext cx="455898" cy="362742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4" name="直接连接符 423"/>
            <p:cNvCxnSpPr>
              <a:stCxn id="469" idx="6"/>
              <a:endCxn id="453" idx="2"/>
            </p:cNvCxnSpPr>
            <p:nvPr/>
          </p:nvCxnSpPr>
          <p:spPr>
            <a:xfrm>
              <a:off x="5655518" y="1733223"/>
              <a:ext cx="1259969" cy="156674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5" name="直接连接符 424"/>
            <p:cNvCxnSpPr>
              <a:stCxn id="467" idx="7"/>
              <a:endCxn id="469" idx="3"/>
            </p:cNvCxnSpPr>
            <p:nvPr/>
          </p:nvCxnSpPr>
          <p:spPr>
            <a:xfrm flipV="1">
              <a:off x="3343424" y="1758679"/>
              <a:ext cx="2250638" cy="761492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6" name="直接连接符 425"/>
            <p:cNvCxnSpPr>
              <a:stCxn id="469" idx="5"/>
              <a:endCxn id="468" idx="1"/>
            </p:cNvCxnSpPr>
            <p:nvPr/>
          </p:nvCxnSpPr>
          <p:spPr>
            <a:xfrm>
              <a:off x="5644974" y="1758679"/>
              <a:ext cx="625293" cy="976492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7" name="直接连接符 426"/>
            <p:cNvCxnSpPr>
              <a:stCxn id="466" idx="6"/>
              <a:endCxn id="468" idx="2"/>
            </p:cNvCxnSpPr>
            <p:nvPr/>
          </p:nvCxnSpPr>
          <p:spPr>
            <a:xfrm flipV="1">
              <a:off x="4712753" y="2760627"/>
              <a:ext cx="1546970" cy="8505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8" name="直接连接符 427"/>
            <p:cNvCxnSpPr>
              <a:stCxn id="468" idx="3"/>
              <a:endCxn id="472" idx="0"/>
            </p:cNvCxnSpPr>
            <p:nvPr/>
          </p:nvCxnSpPr>
          <p:spPr>
            <a:xfrm flipH="1">
              <a:off x="5547518" y="2786083"/>
              <a:ext cx="722749" cy="3051678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9" name="直接连接符 428"/>
            <p:cNvCxnSpPr>
              <a:stCxn id="468" idx="0"/>
              <a:endCxn id="453" idx="3"/>
            </p:cNvCxnSpPr>
            <p:nvPr/>
          </p:nvCxnSpPr>
          <p:spPr>
            <a:xfrm flipV="1">
              <a:off x="6295723" y="1915353"/>
              <a:ext cx="630308" cy="809274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0" name="直接连接符 429"/>
            <p:cNvCxnSpPr>
              <a:stCxn id="468" idx="5"/>
              <a:endCxn id="473" idx="1"/>
            </p:cNvCxnSpPr>
            <p:nvPr/>
          </p:nvCxnSpPr>
          <p:spPr>
            <a:xfrm>
              <a:off x="6321179" y="2786083"/>
              <a:ext cx="698920" cy="841629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1" name="直接连接符 430"/>
            <p:cNvCxnSpPr>
              <a:stCxn id="473" idx="0"/>
              <a:endCxn id="453" idx="4"/>
            </p:cNvCxnSpPr>
            <p:nvPr/>
          </p:nvCxnSpPr>
          <p:spPr>
            <a:xfrm flipH="1" flipV="1">
              <a:off x="6951487" y="1925897"/>
              <a:ext cx="94068" cy="1691271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2" name="直接连接符 431"/>
            <p:cNvCxnSpPr>
              <a:stCxn id="473" idx="7"/>
              <a:endCxn id="456" idx="3"/>
            </p:cNvCxnSpPr>
            <p:nvPr/>
          </p:nvCxnSpPr>
          <p:spPr>
            <a:xfrm flipV="1">
              <a:off x="7071011" y="2770197"/>
              <a:ext cx="436307" cy="857515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3" name="直接连接符 432"/>
            <p:cNvCxnSpPr>
              <a:stCxn id="460" idx="1"/>
              <a:endCxn id="473" idx="5"/>
            </p:cNvCxnSpPr>
            <p:nvPr/>
          </p:nvCxnSpPr>
          <p:spPr>
            <a:xfrm flipH="1" flipV="1">
              <a:off x="7071011" y="3678624"/>
              <a:ext cx="413447" cy="1074055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4" name="直接连接符 433"/>
            <p:cNvCxnSpPr>
              <a:stCxn id="466" idx="4"/>
              <a:endCxn id="472" idx="1"/>
            </p:cNvCxnSpPr>
            <p:nvPr/>
          </p:nvCxnSpPr>
          <p:spPr>
            <a:xfrm>
              <a:off x="4676753" y="2881677"/>
              <a:ext cx="845309" cy="2966628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5" name="直接连接符 434"/>
            <p:cNvCxnSpPr>
              <a:stCxn id="471" idx="5"/>
              <a:endCxn id="472" idx="1"/>
            </p:cNvCxnSpPr>
            <p:nvPr/>
          </p:nvCxnSpPr>
          <p:spPr>
            <a:xfrm>
              <a:off x="4294306" y="3707469"/>
              <a:ext cx="1227756" cy="2140836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6" name="直接连接符 435"/>
            <p:cNvCxnSpPr>
              <a:stCxn id="458" idx="5"/>
              <a:endCxn id="470" idx="1"/>
            </p:cNvCxnSpPr>
            <p:nvPr/>
          </p:nvCxnSpPr>
          <p:spPr>
            <a:xfrm>
              <a:off x="2494504" y="3761893"/>
              <a:ext cx="1006882" cy="1262023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7" name="直接连接符 436"/>
            <p:cNvCxnSpPr>
              <a:stCxn id="470" idx="7"/>
              <a:endCxn id="471" idx="2"/>
            </p:cNvCxnSpPr>
            <p:nvPr/>
          </p:nvCxnSpPr>
          <p:spPr>
            <a:xfrm flipV="1">
              <a:off x="3552298" y="3682013"/>
              <a:ext cx="680552" cy="1341903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8" name="直接连接符 437"/>
            <p:cNvCxnSpPr>
              <a:stCxn id="470" idx="0"/>
              <a:endCxn id="467" idx="4"/>
            </p:cNvCxnSpPr>
            <p:nvPr/>
          </p:nvCxnSpPr>
          <p:spPr>
            <a:xfrm flipH="1" flipV="1">
              <a:off x="3317968" y="2581627"/>
              <a:ext cx="208874" cy="2431745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9" name="直接连接符 438"/>
            <p:cNvCxnSpPr>
              <a:stCxn id="467" idx="1"/>
              <a:endCxn id="454" idx="4"/>
            </p:cNvCxnSpPr>
            <p:nvPr/>
          </p:nvCxnSpPr>
          <p:spPr>
            <a:xfrm flipH="1" flipV="1">
              <a:off x="3245968" y="1921650"/>
              <a:ext cx="46544" cy="598521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0" name="直接连接符 439"/>
            <p:cNvCxnSpPr>
              <a:stCxn id="461" idx="0"/>
              <a:endCxn id="473" idx="4"/>
            </p:cNvCxnSpPr>
            <p:nvPr/>
          </p:nvCxnSpPr>
          <p:spPr>
            <a:xfrm flipV="1">
              <a:off x="6960914" y="3689168"/>
              <a:ext cx="84641" cy="1889941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1" name="直接连接符 440"/>
            <p:cNvCxnSpPr>
              <a:stCxn id="473" idx="3"/>
              <a:endCxn id="472" idx="7"/>
            </p:cNvCxnSpPr>
            <p:nvPr/>
          </p:nvCxnSpPr>
          <p:spPr>
            <a:xfrm flipH="1">
              <a:off x="5572974" y="3678624"/>
              <a:ext cx="1447125" cy="2169681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2" name="直接连接符 441"/>
            <p:cNvCxnSpPr>
              <a:stCxn id="472" idx="6"/>
              <a:endCxn id="461" idx="2"/>
            </p:cNvCxnSpPr>
            <p:nvPr/>
          </p:nvCxnSpPr>
          <p:spPr>
            <a:xfrm flipV="1">
              <a:off x="5583518" y="5615109"/>
              <a:ext cx="1341396" cy="258652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3" name="直接连接符 442"/>
            <p:cNvCxnSpPr>
              <a:stCxn id="472" idx="5"/>
              <a:endCxn id="464" idx="1"/>
            </p:cNvCxnSpPr>
            <p:nvPr/>
          </p:nvCxnSpPr>
          <p:spPr>
            <a:xfrm>
              <a:off x="5572974" y="5899217"/>
              <a:ext cx="527898" cy="244415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4" name="直接连接符 443"/>
            <p:cNvCxnSpPr>
              <a:stCxn id="471" idx="0"/>
              <a:endCxn id="466" idx="3"/>
            </p:cNvCxnSpPr>
            <p:nvPr/>
          </p:nvCxnSpPr>
          <p:spPr>
            <a:xfrm flipV="1">
              <a:off x="4268850" y="2871133"/>
              <a:ext cx="382447" cy="77488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5" name="直接连接符 444"/>
            <p:cNvCxnSpPr>
              <a:stCxn id="470" idx="6"/>
              <a:endCxn id="472" idx="2"/>
            </p:cNvCxnSpPr>
            <p:nvPr/>
          </p:nvCxnSpPr>
          <p:spPr>
            <a:xfrm>
              <a:off x="3562842" y="5049372"/>
              <a:ext cx="1948676" cy="824389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6" name="直接连接符 445"/>
            <p:cNvCxnSpPr>
              <a:stCxn id="459" idx="6"/>
              <a:endCxn id="470" idx="2"/>
            </p:cNvCxnSpPr>
            <p:nvPr/>
          </p:nvCxnSpPr>
          <p:spPr>
            <a:xfrm>
              <a:off x="2723516" y="4804810"/>
              <a:ext cx="767326" cy="244562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7" name="直接连接符 446"/>
            <p:cNvCxnSpPr>
              <a:stCxn id="462" idx="7"/>
              <a:endCxn id="470" idx="3"/>
            </p:cNvCxnSpPr>
            <p:nvPr/>
          </p:nvCxnSpPr>
          <p:spPr>
            <a:xfrm flipV="1">
              <a:off x="3271424" y="5074828"/>
              <a:ext cx="229962" cy="510578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8" name="直接连接符 447"/>
            <p:cNvCxnSpPr>
              <a:stCxn id="463" idx="0"/>
              <a:endCxn id="470" idx="5"/>
            </p:cNvCxnSpPr>
            <p:nvPr/>
          </p:nvCxnSpPr>
          <p:spPr>
            <a:xfrm flipH="1" flipV="1">
              <a:off x="3552298" y="5074828"/>
              <a:ext cx="539139" cy="1058756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9" name="直接连接符 448"/>
            <p:cNvCxnSpPr>
              <a:stCxn id="463" idx="7"/>
              <a:endCxn id="472" idx="2"/>
            </p:cNvCxnSpPr>
            <p:nvPr/>
          </p:nvCxnSpPr>
          <p:spPr>
            <a:xfrm flipV="1">
              <a:off x="4116893" y="5873761"/>
              <a:ext cx="1394625" cy="270367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74" name="弧形 473"/>
          <p:cNvSpPr/>
          <p:nvPr/>
        </p:nvSpPr>
        <p:spPr>
          <a:xfrm rot="20632431" flipV="1">
            <a:off x="1150443" y="2505246"/>
            <a:ext cx="5367474" cy="948964"/>
          </a:xfrm>
          <a:prstGeom prst="arc">
            <a:avLst>
              <a:gd name="adj1" fmla="val 10167527"/>
              <a:gd name="adj2" fmla="val 685371"/>
            </a:avLst>
          </a:prstGeom>
          <a:ln w="38100">
            <a:solidFill>
              <a:srgbClr val="9D81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 sz="1013"/>
          </a:p>
        </p:txBody>
      </p:sp>
      <p:sp>
        <p:nvSpPr>
          <p:cNvPr id="475" name="圆角矩形 474"/>
          <p:cNvSpPr/>
          <p:nvPr/>
        </p:nvSpPr>
        <p:spPr>
          <a:xfrm>
            <a:off x="3159709" y="2084849"/>
            <a:ext cx="4920911" cy="1384103"/>
          </a:xfrm>
          <a:prstGeom prst="roundRect">
            <a:avLst/>
          </a:prstGeom>
          <a:solidFill>
            <a:srgbClr val="292130"/>
          </a:solidFill>
          <a:ln>
            <a:noFill/>
          </a:ln>
          <a:effectLst>
            <a:outerShdw blurRad="381000" dist="127000" dir="2700000" algn="tl" rotWithShape="0">
              <a:prstClr val="black">
                <a:alpha val="8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013"/>
          </a:p>
        </p:txBody>
      </p:sp>
      <p:sp>
        <p:nvSpPr>
          <p:cNvPr id="476" name="文本框 475"/>
          <p:cNvSpPr txBox="1"/>
          <p:nvPr/>
        </p:nvSpPr>
        <p:spPr>
          <a:xfrm>
            <a:off x="4053644" y="2019213"/>
            <a:ext cx="3102847" cy="11919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5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谢谢大家</a:t>
            </a:r>
            <a:endParaRPr lang="en-US" altLang="zh-CN" sz="5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77" name="等腰三角形 476"/>
          <p:cNvSpPr/>
          <p:nvPr/>
        </p:nvSpPr>
        <p:spPr>
          <a:xfrm rot="2134315">
            <a:off x="6487601" y="3485425"/>
            <a:ext cx="476415" cy="410702"/>
          </a:xfrm>
          <a:prstGeom prst="triangle">
            <a:avLst/>
          </a:prstGeom>
          <a:solidFill>
            <a:srgbClr val="A069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013"/>
          </a:p>
        </p:txBody>
      </p:sp>
      <p:sp>
        <p:nvSpPr>
          <p:cNvPr id="478" name="等腰三角形 477"/>
          <p:cNvSpPr/>
          <p:nvPr/>
        </p:nvSpPr>
        <p:spPr>
          <a:xfrm rot="12600000">
            <a:off x="8471579" y="2577412"/>
            <a:ext cx="163074" cy="140581"/>
          </a:xfrm>
          <a:prstGeom prst="triangle">
            <a:avLst/>
          </a:prstGeom>
          <a:solidFill>
            <a:srgbClr val="A252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013"/>
          </a:p>
        </p:txBody>
      </p:sp>
      <p:sp>
        <p:nvSpPr>
          <p:cNvPr id="479" name="等腰三角形 478"/>
          <p:cNvSpPr/>
          <p:nvPr/>
        </p:nvSpPr>
        <p:spPr>
          <a:xfrm rot="460079">
            <a:off x="5396210" y="1849663"/>
            <a:ext cx="314141" cy="270812"/>
          </a:xfrm>
          <a:prstGeom prst="triangle">
            <a:avLst/>
          </a:prstGeom>
          <a:solidFill>
            <a:srgbClr val="8A37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013"/>
          </a:p>
        </p:txBody>
      </p:sp>
      <p:sp>
        <p:nvSpPr>
          <p:cNvPr id="480" name="等腰三角形 479"/>
          <p:cNvSpPr/>
          <p:nvPr/>
        </p:nvSpPr>
        <p:spPr>
          <a:xfrm rot="460079">
            <a:off x="8434270" y="2270779"/>
            <a:ext cx="275478" cy="237481"/>
          </a:xfrm>
          <a:prstGeom prst="triangle">
            <a:avLst/>
          </a:prstGeom>
          <a:solidFill>
            <a:srgbClr val="8A37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013"/>
          </a:p>
        </p:txBody>
      </p:sp>
      <p:sp>
        <p:nvSpPr>
          <p:cNvPr id="481" name="等腰三角形 480"/>
          <p:cNvSpPr/>
          <p:nvPr/>
        </p:nvSpPr>
        <p:spPr>
          <a:xfrm rot="9914774">
            <a:off x="3515153" y="1983548"/>
            <a:ext cx="249357" cy="214962"/>
          </a:xfrm>
          <a:prstGeom prst="triangle">
            <a:avLst/>
          </a:prstGeom>
          <a:solidFill>
            <a:srgbClr val="A252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013"/>
          </a:p>
        </p:txBody>
      </p:sp>
      <p:sp>
        <p:nvSpPr>
          <p:cNvPr id="482" name="等腰三角形 481"/>
          <p:cNvSpPr/>
          <p:nvPr/>
        </p:nvSpPr>
        <p:spPr>
          <a:xfrm rot="7123616">
            <a:off x="3045896" y="2586091"/>
            <a:ext cx="179254" cy="199525"/>
          </a:xfrm>
          <a:prstGeom prst="triangle">
            <a:avLst/>
          </a:prstGeom>
          <a:solidFill>
            <a:srgbClr val="8A37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013"/>
          </a:p>
        </p:txBody>
      </p:sp>
      <p:sp>
        <p:nvSpPr>
          <p:cNvPr id="483" name="等腰三角形 482"/>
          <p:cNvSpPr/>
          <p:nvPr/>
        </p:nvSpPr>
        <p:spPr>
          <a:xfrm rot="3215337">
            <a:off x="6778816" y="3641544"/>
            <a:ext cx="330229" cy="284680"/>
          </a:xfrm>
          <a:prstGeom prst="triangle">
            <a:avLst/>
          </a:prstGeom>
          <a:solidFill>
            <a:srgbClr val="A353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013"/>
          </a:p>
        </p:txBody>
      </p:sp>
    </p:spTree>
    <p:extLst>
      <p:ext uri="{BB962C8B-B14F-4D97-AF65-F5344CB8AC3E}">
        <p14:creationId xmlns:p14="http://schemas.microsoft.com/office/powerpoint/2010/main" val="3906325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4000" advTm="0">
        <p14:vortex dir="r"/>
      </p:transition>
    </mc:Choice>
    <mc:Fallback xmlns="">
      <p:transition spd="slow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34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xit" presetSubtype="0" fill="hold" nodeType="withEffect">
                                  <p:stCondLst>
                                    <p:cond delay="3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500"/>
                                        <p:tgtEl>
                                          <p:spTgt spid="34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xit" presetSubtype="0" fill="hold" nodeType="withEffect">
                                  <p:stCondLst>
                                    <p:cond delay="5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" dur="500"/>
                                        <p:tgtEl>
                                          <p:spTgt spid="34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60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xit" presetSubtype="0" fill="hold" nodeType="withEffect">
                                  <p:stCondLst>
                                    <p:cond delay="7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" dur="500"/>
                                        <p:tgtEl>
                                          <p:spTgt spid="34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8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xit" presetSubtype="0" fill="hold" nodeType="withEffect">
                                  <p:stCondLst>
                                    <p:cond delay="9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3" dur="500"/>
                                        <p:tgtEl>
                                          <p:spTgt spid="34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100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xit" presetSubtype="0" fill="hold" nodeType="withEffect">
                                  <p:stCondLst>
                                    <p:cond delay="11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9" dur="500"/>
                                        <p:tgtEl>
                                          <p:spTgt spid="34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120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3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xit" presetSubtype="0" fill="hold" nodeType="withEffect">
                                  <p:stCondLst>
                                    <p:cond delay="13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5" dur="500"/>
                                        <p:tgtEl>
                                          <p:spTgt spid="34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140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3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1000"/>
                                        <p:tgtEl>
                                          <p:spTgt spid="3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xit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4" dur="1000"/>
                                        <p:tgtEl>
                                          <p:spTgt spid="34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3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1000"/>
                                        <p:tgtEl>
                                          <p:spTgt spid="3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xit" presetSubtype="0" fill="hold" nodeType="withEffect">
                                  <p:stCondLst>
                                    <p:cond delay="3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0" dur="1000"/>
                                        <p:tgtEl>
                                          <p:spTgt spid="34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3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nodeType="withEffect">
                                  <p:stCondLst>
                                    <p:cond delay="450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1000"/>
                                        <p:tgtEl>
                                          <p:spTgt spid="3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6" dur="1000"/>
                                        <p:tgtEl>
                                          <p:spTgt spid="34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3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nodeType="withEffect">
                                  <p:stCondLst>
                                    <p:cond delay="650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1000"/>
                                        <p:tgtEl>
                                          <p:spTgt spid="3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xit" presetSubtype="0" fill="hold" nodeType="withEffect">
                                  <p:stCondLst>
                                    <p:cond delay="7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2" dur="1000"/>
                                        <p:tgtEl>
                                          <p:spTgt spid="34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3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nodeType="withEffect">
                                  <p:stCondLst>
                                    <p:cond delay="850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1000"/>
                                        <p:tgtEl>
                                          <p:spTgt spid="3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xit" presetSubtype="0" fill="hold" nodeType="withEffect">
                                  <p:stCondLst>
                                    <p:cond delay="9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8" dur="1000"/>
                                        <p:tgtEl>
                                          <p:spTgt spid="34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3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nodeType="withEffect">
                                  <p:stCondLst>
                                    <p:cond delay="1050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1000"/>
                                        <p:tgtEl>
                                          <p:spTgt spid="3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0" presetClass="exit" presetSubtype="0" fill="hold" nodeType="withEffect">
                                  <p:stCondLst>
                                    <p:cond delay="11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4" dur="1000"/>
                                        <p:tgtEl>
                                          <p:spTgt spid="34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3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6" presetID="10" presetClass="entr" presetSubtype="0" fill="hold" nodeType="withEffect">
                                  <p:stCondLst>
                                    <p:cond delay="1250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1000"/>
                                        <p:tgtEl>
                                          <p:spTgt spid="3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10" presetClass="exit" presetSubtype="0" fill="hold" nodeType="withEffect">
                                  <p:stCondLst>
                                    <p:cond delay="13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0" dur="1000"/>
                                        <p:tgtEl>
                                          <p:spTgt spid="34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3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2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3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10" presetClass="exit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6" dur="500"/>
                                        <p:tgtEl>
                                          <p:spTgt spid="34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8" presetID="10" presetClass="entr" presetSubtype="0" fill="hold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500"/>
                                        <p:tgtEl>
                                          <p:spTgt spid="3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10" presetClass="exit" presetSubtype="0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2" dur="500"/>
                                        <p:tgtEl>
                                          <p:spTgt spid="34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4" presetID="10" presetClass="entr" presetSubtype="0" fill="hold" nodeType="withEffect">
                                  <p:stCondLst>
                                    <p:cond delay="500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6" dur="500"/>
                                        <p:tgtEl>
                                          <p:spTgt spid="3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7" presetID="10" presetClass="exit" presetSubtype="0" fill="hold" nodeType="withEffect">
                                  <p:stCondLst>
                                    <p:cond delay="6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8" dur="500"/>
                                        <p:tgtEl>
                                          <p:spTgt spid="34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0" presetID="10" presetClass="entr" presetSubtype="0" fill="hold" nodeType="withEffect">
                                  <p:stCondLst>
                                    <p:cond delay="700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2" dur="500"/>
                                        <p:tgtEl>
                                          <p:spTgt spid="3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3" presetID="10" presetClass="exit" presetSubtype="0" fill="hold" nodeType="withEffect">
                                  <p:stCondLst>
                                    <p:cond delay="8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4" dur="500"/>
                                        <p:tgtEl>
                                          <p:spTgt spid="34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6" presetID="10" presetClass="entr" presetSubtype="0" fill="hold" nodeType="withEffect">
                                  <p:stCondLst>
                                    <p:cond delay="900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8" dur="500"/>
                                        <p:tgtEl>
                                          <p:spTgt spid="3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9" presetID="10" presetClass="exit" presetSubtype="0" fill="hold" nodeType="withEffect">
                                  <p:stCondLst>
                                    <p:cond delay="10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0" dur="500"/>
                                        <p:tgtEl>
                                          <p:spTgt spid="34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2" presetID="10" presetClass="entr" presetSubtype="0" fill="hold" nodeType="withEffect">
                                  <p:stCondLst>
                                    <p:cond delay="1100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4" dur="500"/>
                                        <p:tgtEl>
                                          <p:spTgt spid="3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5" presetID="10" presetClass="exit" presetSubtype="0" fill="hold" nodeType="withEffect">
                                  <p:stCondLst>
                                    <p:cond delay="12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6" dur="500"/>
                                        <p:tgtEl>
                                          <p:spTgt spid="34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8" presetID="10" presetClass="entr" presetSubtype="0" fill="hold" nodeType="withEffect">
                                  <p:stCondLst>
                                    <p:cond delay="1300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0" dur="500"/>
                                        <p:tgtEl>
                                          <p:spTgt spid="3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1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3" dur="500"/>
                                        <p:tgtEl>
                                          <p:spTgt spid="3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4" presetID="10" presetClass="exit" presetSubtype="0" fill="hold" nodeType="withEffect">
                                  <p:stCondLst>
                                    <p:cond delay="2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5" dur="500"/>
                                        <p:tgtEl>
                                          <p:spTgt spid="34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7" presetID="10" presetClass="entr" presetSubtype="0" fill="hold" nodeType="withEffect">
                                  <p:stCondLst>
                                    <p:cond delay="350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9" dur="500"/>
                                        <p:tgtEl>
                                          <p:spTgt spid="3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0" presetID="10" presetClass="exit" presetSubtype="0" fill="hold" nodeType="withEffect">
                                  <p:stCondLst>
                                    <p:cond delay="4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1" dur="500"/>
                                        <p:tgtEl>
                                          <p:spTgt spid="34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3" presetID="10" presetClass="entr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5" dur="500"/>
                                        <p:tgtEl>
                                          <p:spTgt spid="3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6" presetID="10" presetClass="exit" presetSubtype="0" fill="hold" nodeType="withEffect">
                                  <p:stCondLst>
                                    <p:cond delay="6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7" dur="500"/>
                                        <p:tgtEl>
                                          <p:spTgt spid="34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9" presetID="10" presetClass="entr" presetSubtype="0" fill="hold" nodeType="withEffect">
                                  <p:stCondLst>
                                    <p:cond delay="750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1" dur="500"/>
                                        <p:tgtEl>
                                          <p:spTgt spid="3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2" presetID="10" presetClass="exit" presetSubtype="0" fill="hold" nodeType="withEffect">
                                  <p:stCondLst>
                                    <p:cond delay="8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3" dur="500"/>
                                        <p:tgtEl>
                                          <p:spTgt spid="34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5" presetID="10" presetClass="entr" presetSubtype="0" fill="hold" nodeType="withEffect">
                                  <p:stCondLst>
                                    <p:cond delay="950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7" dur="500"/>
                                        <p:tgtEl>
                                          <p:spTgt spid="3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8" presetID="10" presetClass="exit" presetSubtype="0" fill="hold" nodeType="withEffect">
                                  <p:stCondLst>
                                    <p:cond delay="10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9" dur="500"/>
                                        <p:tgtEl>
                                          <p:spTgt spid="34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1" presetID="10" presetClass="entr" presetSubtype="0" fill="hold" nodeType="withEffect">
                                  <p:stCondLst>
                                    <p:cond delay="1150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3" dur="500"/>
                                        <p:tgtEl>
                                          <p:spTgt spid="3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4" presetID="10" presetClass="exit" presetSubtype="0" fill="hold" nodeType="withEffect">
                                  <p:stCondLst>
                                    <p:cond delay="12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5" dur="500"/>
                                        <p:tgtEl>
                                          <p:spTgt spid="34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7" presetID="10" presetClass="entr" presetSubtype="0" fill="hold" nodeType="withEffect">
                                  <p:stCondLst>
                                    <p:cond delay="13500"/>
                                  </p:stCondLst>
                                  <p:childTnLst>
                                    <p:set>
                                      <p:cBhvr>
                                        <p:cTn id="1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9" dur="500"/>
                                        <p:tgtEl>
                                          <p:spTgt spid="3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0" presetID="10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2" dur="500"/>
                                        <p:tgtEl>
                                          <p:spTgt spid="3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3" presetID="10" presetClass="exit" presetSubtype="0" fill="hold" nodeType="withEffect">
                                  <p:stCondLst>
                                    <p:cond delay="3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4" dur="500"/>
                                        <p:tgtEl>
                                          <p:spTgt spid="34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6" presetID="10" presetClass="entr" presetSubtype="0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1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8" dur="500"/>
                                        <p:tgtEl>
                                          <p:spTgt spid="3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9" presetID="10" presetClass="exit" presetSubtype="0" fill="hold" nodeType="withEffect">
                                  <p:stCondLst>
                                    <p:cond delay="5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0" dur="500"/>
                                        <p:tgtEl>
                                          <p:spTgt spid="34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2" presetID="10" presetClass="entr" presetSubtype="0" fill="hold" nodeType="withEffect">
                                  <p:stCondLst>
                                    <p:cond delay="6000"/>
                                  </p:stCondLst>
                                  <p:childTnLst>
                                    <p:set>
                                      <p:cBhvr>
                                        <p:cTn id="1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4" dur="500"/>
                                        <p:tgtEl>
                                          <p:spTgt spid="3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5" presetID="10" presetClass="exit" presetSubtype="0" fill="hold" nodeType="withEffect">
                                  <p:stCondLst>
                                    <p:cond delay="7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6" dur="500"/>
                                        <p:tgtEl>
                                          <p:spTgt spid="34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8" presetID="10" presetClass="entr" presetSubtype="0" fill="hold" nodeType="withEffect">
                                  <p:stCondLst>
                                    <p:cond delay="8000"/>
                                  </p:stCondLst>
                                  <p:childTnLst>
                                    <p:set>
                                      <p:cBhvr>
                                        <p:cTn id="1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0" dur="500"/>
                                        <p:tgtEl>
                                          <p:spTgt spid="3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1" presetID="10" presetClass="exit" presetSubtype="0" fill="hold" nodeType="withEffect">
                                  <p:stCondLst>
                                    <p:cond delay="9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92" dur="500"/>
                                        <p:tgtEl>
                                          <p:spTgt spid="34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4" presetID="10" presetClass="entr" presetSubtype="0" fill="hold" nodeType="withEffect">
                                  <p:stCondLst>
                                    <p:cond delay="10000"/>
                                  </p:stCondLst>
                                  <p:childTnLst>
                                    <p:set>
                                      <p:cBhvr>
                                        <p:cTn id="1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6" dur="500"/>
                                        <p:tgtEl>
                                          <p:spTgt spid="3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7" presetID="10" presetClass="exit" presetSubtype="0" fill="hold" nodeType="withEffect">
                                  <p:stCondLst>
                                    <p:cond delay="11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98" dur="500"/>
                                        <p:tgtEl>
                                          <p:spTgt spid="34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0" presetID="10" presetClass="entr" presetSubtype="0" fill="hold" nodeType="withEffect">
                                  <p:stCondLst>
                                    <p:cond delay="12000"/>
                                  </p:stCondLst>
                                  <p:childTnLst>
                                    <p:set>
                                      <p:cBhvr>
                                        <p:cTn id="2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2" dur="500"/>
                                        <p:tgtEl>
                                          <p:spTgt spid="3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3" presetID="10" presetClass="exit" presetSubtype="0" fill="hold" nodeType="withEffect">
                                  <p:stCondLst>
                                    <p:cond delay="13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04" dur="500"/>
                                        <p:tgtEl>
                                          <p:spTgt spid="34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0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6" presetID="10" presetClass="entr" presetSubtype="0" fill="hold" nodeType="withEffect">
                                  <p:stCondLst>
                                    <p:cond delay="14000"/>
                                  </p:stCondLst>
                                  <p:childTnLst>
                                    <p:set>
                                      <p:cBhvr>
                                        <p:cTn id="2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8" dur="500"/>
                                        <p:tgtEl>
                                          <p:spTgt spid="3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9" presetID="21" presetClass="entr" presetSubtype="1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11" dur="2000"/>
                                        <p:tgtEl>
                                          <p:spTgt spid="3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2" presetID="10" presetClass="entr" presetSubtype="0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4" dur="750"/>
                                        <p:tgtEl>
                                          <p:spTgt spid="3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5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7" dur="750"/>
                                        <p:tgtEl>
                                          <p:spTgt spid="3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8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0" dur="750"/>
                                        <p:tgtEl>
                                          <p:spTgt spid="4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1" presetID="22" presetClass="entr" presetSubtype="4" fill="hold" nodeType="withEffect">
                                  <p:stCondLst>
                                    <p:cond delay="4250"/>
                                  </p:stCondLst>
                                  <p:childTnLst>
                                    <p:set>
                                      <p:cBhvr>
                                        <p:cTn id="2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3" dur="750"/>
                                        <p:tgtEl>
                                          <p:spTgt spid="4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4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6" dur="750"/>
                                        <p:tgtEl>
                                          <p:spTgt spid="4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7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9" dur="750"/>
                                        <p:tgtEl>
                                          <p:spTgt spid="4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0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2" dur="750"/>
                                        <p:tgtEl>
                                          <p:spTgt spid="4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3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5" dur="750"/>
                                        <p:tgtEl>
                                          <p:spTgt spid="4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6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8" dur="750"/>
                                        <p:tgtEl>
                                          <p:spTgt spid="3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9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1" dur="750"/>
                                        <p:tgtEl>
                                          <p:spTgt spid="3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2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4" dur="750"/>
                                        <p:tgtEl>
                                          <p:spTgt spid="3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5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7" dur="750"/>
                                        <p:tgtEl>
                                          <p:spTgt spid="3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8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0" dur="750"/>
                                        <p:tgtEl>
                                          <p:spTgt spid="3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1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3" dur="750"/>
                                        <p:tgtEl>
                                          <p:spTgt spid="3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4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6" dur="750"/>
                                        <p:tgtEl>
                                          <p:spTgt spid="3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7" presetID="22" presetClass="entr" presetSubtype="4" fill="hold" nodeType="withEffect">
                                  <p:stCondLst>
                                    <p:cond delay="4750"/>
                                  </p:stCondLst>
                                  <p:childTnLst>
                                    <p:set>
                                      <p:cBhvr>
                                        <p:cTn id="2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9" dur="750"/>
                                        <p:tgtEl>
                                          <p:spTgt spid="3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0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62" dur="750"/>
                                        <p:tgtEl>
                                          <p:spTgt spid="3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3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65" dur="750"/>
                                        <p:tgtEl>
                                          <p:spTgt spid="4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6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68" dur="750"/>
                                        <p:tgtEl>
                                          <p:spTgt spid="4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9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1" dur="750"/>
                                        <p:tgtEl>
                                          <p:spTgt spid="3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2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4" dur="750"/>
                                        <p:tgtEl>
                                          <p:spTgt spid="3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5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7" dur="750"/>
                                        <p:tgtEl>
                                          <p:spTgt spid="4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8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80" dur="750"/>
                                        <p:tgtEl>
                                          <p:spTgt spid="3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1" presetID="22" presetClass="entr" presetSubtype="4" fill="hold" nodeType="withEffect">
                                  <p:stCondLst>
                                    <p:cond delay="4750"/>
                                  </p:stCondLst>
                                  <p:childTnLst>
                                    <p:set>
                                      <p:cBhvr>
                                        <p:cTn id="2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83" dur="750"/>
                                        <p:tgtEl>
                                          <p:spTgt spid="3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4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86" dur="750"/>
                                        <p:tgtEl>
                                          <p:spTgt spid="3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7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89" dur="750"/>
                                        <p:tgtEl>
                                          <p:spTgt spid="3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0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92" dur="750"/>
                                        <p:tgtEl>
                                          <p:spTgt spid="3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3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95" dur="750"/>
                                        <p:tgtEl>
                                          <p:spTgt spid="3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6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98" dur="750"/>
                                        <p:tgtEl>
                                          <p:spTgt spid="3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9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3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01" dur="750"/>
                                        <p:tgtEl>
                                          <p:spTgt spid="3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2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3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04" dur="750"/>
                                        <p:tgtEl>
                                          <p:spTgt spid="3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5" presetID="22" presetClass="entr" presetSubtype="4" fill="hold" nodeType="withEffect">
                                  <p:stCondLst>
                                    <p:cond delay="4750"/>
                                  </p:stCondLst>
                                  <p:childTnLst>
                                    <p:set>
                                      <p:cBhvr>
                                        <p:cTn id="3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07" dur="750"/>
                                        <p:tgtEl>
                                          <p:spTgt spid="3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8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3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0" dur="750"/>
                                        <p:tgtEl>
                                          <p:spTgt spid="3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1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3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3" dur="750"/>
                                        <p:tgtEl>
                                          <p:spTgt spid="4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4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3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6" dur="750"/>
                                        <p:tgtEl>
                                          <p:spTgt spid="3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7" presetID="22" presetClass="entr" presetSubtype="4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3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9" dur="750"/>
                                        <p:tgtEl>
                                          <p:spTgt spid="3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0" presetID="22" presetClass="entr" presetSubtype="4" fill="hold" nodeType="withEffect">
                                  <p:stCondLst>
                                    <p:cond delay="4750"/>
                                  </p:stCondLst>
                                  <p:childTnLst>
                                    <p:set>
                                      <p:cBhvr>
                                        <p:cTn id="3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22" dur="750"/>
                                        <p:tgtEl>
                                          <p:spTgt spid="4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3" presetID="1" presetClass="exit" presetSubtype="0" fill="hold" grpId="1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5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7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9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1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3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5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7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9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1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3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5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7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9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1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3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5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7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9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1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3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5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7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9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1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3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5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7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9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1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3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5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7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9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1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3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5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7" presetID="1" presetClass="exit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3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9" presetID="1" presetClass="entr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4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1" presetID="8" presetClass="emph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animRot by="21600000">
                                      <p:cBhvr>
                                        <p:cTn id="402" dur="10000" fill="hold"/>
                                        <p:tgtEl>
                                          <p:spTgt spid="41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403" presetID="53" presetClass="entr" presetSubtype="16" fill="hold" nodeType="withEffect">
                                  <p:stCondLst>
                                    <p:cond delay="7000"/>
                                  </p:stCondLst>
                                  <p:childTnLst>
                                    <p:set>
                                      <p:cBhvr>
                                        <p:cTn id="4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5" dur="2500" fill="hold"/>
                                        <p:tgtEl>
                                          <p:spTgt spid="34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6" dur="2500" fill="hold"/>
                                        <p:tgtEl>
                                          <p:spTgt spid="34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07" dur="2500"/>
                                        <p:tgtEl>
                                          <p:spTgt spid="3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8" presetID="8" presetClass="emph" presetSubtype="0" fill="hold" nodeType="withEffect">
                                  <p:stCondLst>
                                    <p:cond delay="7000"/>
                                  </p:stCondLst>
                                  <p:childTnLst>
                                    <p:animRot by="-21600000">
                                      <p:cBhvr>
                                        <p:cTn id="409" dur="8500" fill="hold"/>
                                        <p:tgtEl>
                                          <p:spTgt spid="34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410" presetID="22" presetClass="entr" presetSubtype="2" fill="hold" grpId="0" nodeType="withEffect">
                                  <p:stCondLst>
                                    <p:cond delay="10500"/>
                                  </p:stCondLst>
                                  <p:childTnLst>
                                    <p:set>
                                      <p:cBhvr>
                                        <p:cTn id="4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12" dur="1000"/>
                                        <p:tgtEl>
                                          <p:spTgt spid="4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3" presetID="2" presetClass="entr" presetSubtype="2" fill="hold" grpId="0" nodeType="withEffect">
                                  <p:stCondLst>
                                    <p:cond delay="11750"/>
                                  </p:stCondLst>
                                  <p:childTnLst>
                                    <p:set>
                                      <p:cBhvr>
                                        <p:cTn id="4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5" dur="1000" fill="hold"/>
                                        <p:tgtEl>
                                          <p:spTgt spid="4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16" dur="1000" fill="hold"/>
                                        <p:tgtEl>
                                          <p:spTgt spid="4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7" presetID="2" presetClass="entr" presetSubtype="9" fill="hold" grpId="0" nodeType="withEffect">
                                  <p:stCondLst>
                                    <p:cond delay="13250"/>
                                  </p:stCondLst>
                                  <p:childTnLst>
                                    <p:set>
                                      <p:cBhvr>
                                        <p:cTn id="4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9" dur="1000" fill="hold"/>
                                        <p:tgtEl>
                                          <p:spTgt spid="4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0" dur="1000" fill="hold"/>
                                        <p:tgtEl>
                                          <p:spTgt spid="4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1" presetID="2" presetClass="entr" presetSubtype="1" fill="hold" grpId="0" nodeType="withEffect">
                                  <p:stCondLst>
                                    <p:cond delay="13500"/>
                                  </p:stCondLst>
                                  <p:childTnLst>
                                    <p:set>
                                      <p:cBhvr>
                                        <p:cTn id="4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3" dur="1000" fill="hold"/>
                                        <p:tgtEl>
                                          <p:spTgt spid="4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4" dur="1000" fill="hold"/>
                                        <p:tgtEl>
                                          <p:spTgt spid="4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5" presetID="2" presetClass="entr" presetSubtype="1" fill="hold" grpId="0" nodeType="withEffect">
                                  <p:stCondLst>
                                    <p:cond delay="13250"/>
                                  </p:stCondLst>
                                  <p:childTnLst>
                                    <p:set>
                                      <p:cBhvr>
                                        <p:cTn id="4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7" dur="1000" fill="hold"/>
                                        <p:tgtEl>
                                          <p:spTgt spid="47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8" dur="1000" fill="hold"/>
                                        <p:tgtEl>
                                          <p:spTgt spid="4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9" presetID="2" presetClass="entr" presetSubtype="3" fill="hold" grpId="0" nodeType="withEffect">
                                  <p:stCondLst>
                                    <p:cond delay="13500"/>
                                  </p:stCondLst>
                                  <p:childTnLst>
                                    <p:set>
                                      <p:cBhvr>
                                        <p:cTn id="4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1" dur="1000" fill="hold"/>
                                        <p:tgtEl>
                                          <p:spTgt spid="4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2" dur="1000" fill="hold"/>
                                        <p:tgtEl>
                                          <p:spTgt spid="4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3" presetID="2" presetClass="entr" presetSubtype="3" fill="hold" grpId="0" nodeType="withEffect">
                                  <p:stCondLst>
                                    <p:cond delay="13250"/>
                                  </p:stCondLst>
                                  <p:childTnLst>
                                    <p:set>
                                      <p:cBhvr>
                                        <p:cTn id="4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5" dur="1000" fill="hold"/>
                                        <p:tgtEl>
                                          <p:spTgt spid="4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6" dur="1000" fill="hold"/>
                                        <p:tgtEl>
                                          <p:spTgt spid="4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7" presetID="2" presetClass="entr" presetSubtype="4" fill="hold" grpId="0" nodeType="withEffect">
                                  <p:stCondLst>
                                    <p:cond delay="13250"/>
                                  </p:stCondLst>
                                  <p:childTnLst>
                                    <p:set>
                                      <p:cBhvr>
                                        <p:cTn id="4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9" dur="1000" fill="hold"/>
                                        <p:tgtEl>
                                          <p:spTgt spid="4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0" dur="1000" fill="hold"/>
                                        <p:tgtEl>
                                          <p:spTgt spid="4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41" presetID="2" presetClass="entr" presetSubtype="4" fill="hold" grpId="0" nodeType="withEffect">
                                  <p:stCondLst>
                                    <p:cond delay="13500"/>
                                  </p:stCondLst>
                                  <p:childTnLst>
                                    <p:set>
                                      <p:cBhvr>
                                        <p:cTn id="4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43" dur="1000" fill="hold"/>
                                        <p:tgtEl>
                                          <p:spTgt spid="4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4" dur="1000" fill="hold"/>
                                        <p:tgtEl>
                                          <p:spTgt spid="4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5" fill="hold">
                      <p:stCondLst>
                        <p:cond delay="indefinite"/>
                      </p:stCondLst>
                      <p:childTnLst>
                        <p:par>
                          <p:cTn id="446" fill="hold">
                            <p:stCondLst>
                              <p:cond delay="0"/>
                            </p:stCondLst>
                            <p:childTnLst>
                              <p:par>
                                <p:cTn id="447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4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49" dur="500"/>
                                        <p:tgtEl>
                                          <p:spTgt spid="4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9" grpId="0" animBg="1"/>
      <p:bldP spid="349" grpId="1" animBg="1"/>
      <p:bldP spid="474" grpId="0" animBg="1"/>
      <p:bldP spid="475" grpId="0" animBg="1"/>
      <p:bldP spid="476" grpId="0"/>
      <p:bldP spid="477" grpId="0" animBg="1"/>
      <p:bldP spid="478" grpId="0" animBg="1"/>
      <p:bldP spid="479" grpId="0" animBg="1"/>
      <p:bldP spid="480" grpId="0" animBg="1"/>
      <p:bldP spid="481" grpId="0" animBg="1"/>
      <p:bldP spid="482" grpId="0" animBg="1"/>
      <p:bldP spid="483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合 3"/>
          <p:cNvGrpSpPr/>
          <p:nvPr/>
        </p:nvGrpSpPr>
        <p:grpSpPr>
          <a:xfrm>
            <a:off x="4617887" y="425318"/>
            <a:ext cx="1486524" cy="1485129"/>
            <a:chOff x="6309221" y="788029"/>
            <a:chExt cx="2825105" cy="2822453"/>
          </a:xfrm>
        </p:grpSpPr>
        <p:sp>
          <p:nvSpPr>
            <p:cNvPr id="5" name="椭圆 4"/>
            <p:cNvSpPr/>
            <p:nvPr/>
          </p:nvSpPr>
          <p:spPr>
            <a:xfrm>
              <a:off x="6461555" y="939037"/>
              <a:ext cx="2520437" cy="2520437"/>
            </a:xfrm>
            <a:prstGeom prst="ellipse">
              <a:avLst/>
            </a:prstGeom>
            <a:solidFill>
              <a:srgbClr val="2921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  <p:grpSp>
          <p:nvGrpSpPr>
            <p:cNvPr id="6" name="组合 5"/>
            <p:cNvGrpSpPr/>
            <p:nvPr/>
          </p:nvGrpSpPr>
          <p:grpSpPr>
            <a:xfrm>
              <a:off x="6309221" y="788029"/>
              <a:ext cx="2825105" cy="2822453"/>
              <a:chOff x="2433048" y="1083945"/>
              <a:chExt cx="5333787" cy="5328780"/>
            </a:xfrm>
          </p:grpSpPr>
          <p:sp>
            <p:nvSpPr>
              <p:cNvPr id="7" name="十六角星 6"/>
              <p:cNvSpPr/>
              <p:nvPr/>
            </p:nvSpPr>
            <p:spPr>
              <a:xfrm>
                <a:off x="2470676" y="1127265"/>
                <a:ext cx="5254344" cy="5254344"/>
              </a:xfrm>
              <a:prstGeom prst="star16">
                <a:avLst>
                  <a:gd name="adj" fmla="val 49459"/>
                </a:avLst>
              </a:prstGeom>
              <a:noFill/>
              <a:ln w="6350">
                <a:solidFill>
                  <a:srgbClr val="9D819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grpSp>
            <p:nvGrpSpPr>
              <p:cNvPr id="8" name="组合 7"/>
              <p:cNvGrpSpPr/>
              <p:nvPr/>
            </p:nvGrpSpPr>
            <p:grpSpPr>
              <a:xfrm>
                <a:off x="2433048" y="1083945"/>
                <a:ext cx="5333787" cy="5328780"/>
                <a:chOff x="2280648" y="931545"/>
                <a:chExt cx="5333787" cy="5328780"/>
              </a:xfrm>
            </p:grpSpPr>
            <p:sp>
              <p:nvSpPr>
                <p:cNvPr id="45" name="椭圆 44"/>
                <p:cNvSpPr/>
                <p:nvPr/>
              </p:nvSpPr>
              <p:spPr>
                <a:xfrm>
                  <a:off x="3903037" y="1131665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46" name="椭圆 45"/>
                <p:cNvSpPr/>
                <p:nvPr/>
              </p:nvSpPr>
              <p:spPr>
                <a:xfrm>
                  <a:off x="4916848" y="931545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47" name="椭圆 46"/>
                <p:cNvSpPr/>
                <p:nvPr/>
              </p:nvSpPr>
              <p:spPr>
                <a:xfrm>
                  <a:off x="5937928" y="1131169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48" name="椭圆 47"/>
                <p:cNvSpPr/>
                <p:nvPr/>
              </p:nvSpPr>
              <p:spPr>
                <a:xfrm>
                  <a:off x="6763087" y="170149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49" name="椭圆 48"/>
                <p:cNvSpPr/>
                <p:nvPr/>
              </p:nvSpPr>
              <p:spPr>
                <a:xfrm>
                  <a:off x="3057568" y="1697250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50" name="椭圆 49"/>
                <p:cNvSpPr/>
                <p:nvPr/>
              </p:nvSpPr>
              <p:spPr>
                <a:xfrm>
                  <a:off x="2481128" y="2556341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51" name="椭圆 50"/>
                <p:cNvSpPr/>
                <p:nvPr/>
              </p:nvSpPr>
              <p:spPr>
                <a:xfrm>
                  <a:off x="7344374" y="2556341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52" name="椭圆 51"/>
                <p:cNvSpPr/>
                <p:nvPr/>
              </p:nvSpPr>
              <p:spPr>
                <a:xfrm>
                  <a:off x="7542435" y="354803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53" name="椭圆 52"/>
                <p:cNvSpPr/>
                <p:nvPr/>
              </p:nvSpPr>
              <p:spPr>
                <a:xfrm>
                  <a:off x="2280648" y="354803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54" name="椭圆 53"/>
                <p:cNvSpPr/>
                <p:nvPr/>
              </p:nvSpPr>
              <p:spPr>
                <a:xfrm>
                  <a:off x="2499116" y="4616410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55" name="椭圆 54"/>
                <p:cNvSpPr/>
                <p:nvPr/>
              </p:nvSpPr>
              <p:spPr>
                <a:xfrm>
                  <a:off x="7321514" y="4589735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56" name="椭圆 55"/>
                <p:cNvSpPr/>
                <p:nvPr/>
              </p:nvSpPr>
              <p:spPr>
                <a:xfrm>
                  <a:off x="6772514" y="5426709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57" name="椭圆 56"/>
                <p:cNvSpPr/>
                <p:nvPr/>
              </p:nvSpPr>
              <p:spPr>
                <a:xfrm>
                  <a:off x="3057568" y="5422462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58" name="椭圆 57"/>
                <p:cNvSpPr/>
                <p:nvPr/>
              </p:nvSpPr>
              <p:spPr>
                <a:xfrm>
                  <a:off x="3903037" y="5981184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59" name="椭圆 58"/>
                <p:cNvSpPr/>
                <p:nvPr/>
              </p:nvSpPr>
              <p:spPr>
                <a:xfrm>
                  <a:off x="5937928" y="5980688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60" name="椭圆 59"/>
                <p:cNvSpPr/>
                <p:nvPr/>
              </p:nvSpPr>
              <p:spPr>
                <a:xfrm>
                  <a:off x="4916848" y="6188325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61" name="椭圆 60"/>
                <p:cNvSpPr/>
                <p:nvPr/>
              </p:nvSpPr>
              <p:spPr>
                <a:xfrm>
                  <a:off x="4488353" y="265727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62" name="椭圆 61"/>
                <p:cNvSpPr/>
                <p:nvPr/>
              </p:nvSpPr>
              <p:spPr>
                <a:xfrm>
                  <a:off x="3129568" y="235722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63" name="椭圆 62"/>
                <p:cNvSpPr/>
                <p:nvPr/>
              </p:nvSpPr>
              <p:spPr>
                <a:xfrm>
                  <a:off x="6107323" y="257222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64" name="椭圆 63"/>
                <p:cNvSpPr/>
                <p:nvPr/>
              </p:nvSpPr>
              <p:spPr>
                <a:xfrm>
                  <a:off x="5431118" y="1544823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65" name="椭圆 64"/>
                <p:cNvSpPr/>
                <p:nvPr/>
              </p:nvSpPr>
              <p:spPr>
                <a:xfrm>
                  <a:off x="3338442" y="4860972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66" name="椭圆 65"/>
                <p:cNvSpPr/>
                <p:nvPr/>
              </p:nvSpPr>
              <p:spPr>
                <a:xfrm>
                  <a:off x="4080450" y="3493613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67" name="椭圆 66"/>
                <p:cNvSpPr/>
                <p:nvPr/>
              </p:nvSpPr>
              <p:spPr>
                <a:xfrm>
                  <a:off x="5359118" y="5685361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68" name="椭圆 67"/>
                <p:cNvSpPr/>
                <p:nvPr/>
              </p:nvSpPr>
              <p:spPr>
                <a:xfrm>
                  <a:off x="6857155" y="3464768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</p:grpSp>
          <p:cxnSp>
            <p:nvCxnSpPr>
              <p:cNvPr id="9" name="直接连接符 8"/>
              <p:cNvCxnSpPr>
                <a:stCxn id="46" idx="4"/>
                <a:endCxn id="64" idx="0"/>
              </p:cNvCxnSpPr>
              <p:nvPr/>
            </p:nvCxnSpPr>
            <p:spPr>
              <a:xfrm>
                <a:off x="5105248" y="1155945"/>
                <a:ext cx="514270" cy="54127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直接连接符 9"/>
              <p:cNvCxnSpPr>
                <a:stCxn id="45" idx="5"/>
                <a:endCxn id="64" idx="2"/>
              </p:cNvCxnSpPr>
              <p:nvPr/>
            </p:nvCxnSpPr>
            <p:spPr>
              <a:xfrm>
                <a:off x="4116893" y="1345521"/>
                <a:ext cx="1466625" cy="38770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直接连接符 10"/>
              <p:cNvCxnSpPr>
                <a:stCxn id="62" idx="0"/>
                <a:endCxn id="45" idx="4"/>
              </p:cNvCxnSpPr>
              <p:nvPr/>
            </p:nvCxnSpPr>
            <p:spPr>
              <a:xfrm flipV="1">
                <a:off x="3317968" y="1356065"/>
                <a:ext cx="773469" cy="115356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直接连接符 11"/>
              <p:cNvCxnSpPr>
                <a:stCxn id="67" idx="3"/>
                <a:endCxn id="60" idx="0"/>
              </p:cNvCxnSpPr>
              <p:nvPr/>
            </p:nvCxnSpPr>
            <p:spPr>
              <a:xfrm flipH="1">
                <a:off x="5105248" y="5899217"/>
                <a:ext cx="416814" cy="44150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直接连接符 12"/>
              <p:cNvCxnSpPr>
                <a:stCxn id="50" idx="6"/>
              </p:cNvCxnSpPr>
              <p:nvPr/>
            </p:nvCxnSpPr>
            <p:spPr>
              <a:xfrm flipV="1">
                <a:off x="2705528" y="2545627"/>
                <a:ext cx="576440" cy="199114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直接连接符 13"/>
              <p:cNvCxnSpPr>
                <a:stCxn id="62" idx="6"/>
                <a:endCxn id="61" idx="2"/>
              </p:cNvCxnSpPr>
              <p:nvPr/>
            </p:nvCxnSpPr>
            <p:spPr>
              <a:xfrm>
                <a:off x="3353968" y="2545627"/>
                <a:ext cx="1286785" cy="300050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直接连接符 14"/>
              <p:cNvCxnSpPr>
                <a:stCxn id="61" idx="0"/>
                <a:endCxn id="64" idx="4"/>
              </p:cNvCxnSpPr>
              <p:nvPr/>
            </p:nvCxnSpPr>
            <p:spPr>
              <a:xfrm flipV="1">
                <a:off x="4676753" y="1769223"/>
                <a:ext cx="942765" cy="1040454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直接连接符 15"/>
              <p:cNvCxnSpPr>
                <a:stCxn id="53" idx="7"/>
                <a:endCxn id="62" idx="3"/>
              </p:cNvCxnSpPr>
              <p:nvPr/>
            </p:nvCxnSpPr>
            <p:spPr>
              <a:xfrm flipV="1">
                <a:off x="2494504" y="2571083"/>
                <a:ext cx="798008" cy="113989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直接连接符 16"/>
              <p:cNvCxnSpPr>
                <a:stCxn id="62" idx="5"/>
                <a:endCxn id="66" idx="1"/>
              </p:cNvCxnSpPr>
              <p:nvPr/>
            </p:nvCxnSpPr>
            <p:spPr>
              <a:xfrm>
                <a:off x="3343424" y="2571083"/>
                <a:ext cx="899970" cy="1085474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直接连接符 17"/>
              <p:cNvCxnSpPr>
                <a:stCxn id="64" idx="7"/>
                <a:endCxn id="47" idx="3"/>
              </p:cNvCxnSpPr>
              <p:nvPr/>
            </p:nvCxnSpPr>
            <p:spPr>
              <a:xfrm flipV="1">
                <a:off x="5644974" y="1345025"/>
                <a:ext cx="455898" cy="36274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直接连接符 18"/>
              <p:cNvCxnSpPr>
                <a:stCxn id="64" idx="6"/>
                <a:endCxn id="48" idx="2"/>
              </p:cNvCxnSpPr>
              <p:nvPr/>
            </p:nvCxnSpPr>
            <p:spPr>
              <a:xfrm>
                <a:off x="5655518" y="1733223"/>
                <a:ext cx="1259969" cy="156674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直接连接符 19"/>
              <p:cNvCxnSpPr>
                <a:stCxn id="62" idx="7"/>
                <a:endCxn id="64" idx="3"/>
              </p:cNvCxnSpPr>
              <p:nvPr/>
            </p:nvCxnSpPr>
            <p:spPr>
              <a:xfrm flipV="1">
                <a:off x="3343424" y="1758679"/>
                <a:ext cx="2250638" cy="76149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直接连接符 20"/>
              <p:cNvCxnSpPr>
                <a:stCxn id="64" idx="5"/>
                <a:endCxn id="63" idx="1"/>
              </p:cNvCxnSpPr>
              <p:nvPr/>
            </p:nvCxnSpPr>
            <p:spPr>
              <a:xfrm>
                <a:off x="5644974" y="1758679"/>
                <a:ext cx="625293" cy="97649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直接连接符 21"/>
              <p:cNvCxnSpPr>
                <a:stCxn id="61" idx="6"/>
                <a:endCxn id="63" idx="2"/>
              </p:cNvCxnSpPr>
              <p:nvPr/>
            </p:nvCxnSpPr>
            <p:spPr>
              <a:xfrm flipV="1">
                <a:off x="4712753" y="2760627"/>
                <a:ext cx="1546970" cy="85050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直接连接符 22"/>
              <p:cNvCxnSpPr>
                <a:stCxn id="63" idx="3"/>
                <a:endCxn id="67" idx="0"/>
              </p:cNvCxnSpPr>
              <p:nvPr/>
            </p:nvCxnSpPr>
            <p:spPr>
              <a:xfrm flipH="1">
                <a:off x="5547518" y="2786083"/>
                <a:ext cx="722749" cy="305167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直接连接符 23"/>
              <p:cNvCxnSpPr>
                <a:stCxn id="63" idx="0"/>
                <a:endCxn id="48" idx="3"/>
              </p:cNvCxnSpPr>
              <p:nvPr/>
            </p:nvCxnSpPr>
            <p:spPr>
              <a:xfrm flipV="1">
                <a:off x="6295723" y="1915353"/>
                <a:ext cx="630308" cy="809274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直接连接符 24"/>
              <p:cNvCxnSpPr>
                <a:stCxn id="63" idx="5"/>
                <a:endCxn id="68" idx="1"/>
              </p:cNvCxnSpPr>
              <p:nvPr/>
            </p:nvCxnSpPr>
            <p:spPr>
              <a:xfrm>
                <a:off x="6321179" y="2786083"/>
                <a:ext cx="698920" cy="841629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直接连接符 25"/>
              <p:cNvCxnSpPr>
                <a:stCxn id="68" idx="0"/>
                <a:endCxn id="48" idx="4"/>
              </p:cNvCxnSpPr>
              <p:nvPr/>
            </p:nvCxnSpPr>
            <p:spPr>
              <a:xfrm flipH="1" flipV="1">
                <a:off x="6951487" y="1925897"/>
                <a:ext cx="94068" cy="1691271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直接连接符 26"/>
              <p:cNvCxnSpPr>
                <a:stCxn id="68" idx="7"/>
                <a:endCxn id="51" idx="3"/>
              </p:cNvCxnSpPr>
              <p:nvPr/>
            </p:nvCxnSpPr>
            <p:spPr>
              <a:xfrm flipV="1">
                <a:off x="7071011" y="2770197"/>
                <a:ext cx="436307" cy="857515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直接连接符 27"/>
              <p:cNvCxnSpPr>
                <a:stCxn id="55" idx="1"/>
                <a:endCxn id="68" idx="5"/>
              </p:cNvCxnSpPr>
              <p:nvPr/>
            </p:nvCxnSpPr>
            <p:spPr>
              <a:xfrm flipH="1" flipV="1">
                <a:off x="7071011" y="3678624"/>
                <a:ext cx="413447" cy="1074055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直接连接符 28"/>
              <p:cNvCxnSpPr>
                <a:stCxn id="61" idx="4"/>
                <a:endCxn id="67" idx="1"/>
              </p:cNvCxnSpPr>
              <p:nvPr/>
            </p:nvCxnSpPr>
            <p:spPr>
              <a:xfrm>
                <a:off x="4676753" y="2881677"/>
                <a:ext cx="845309" cy="296662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直接连接符 29"/>
              <p:cNvCxnSpPr>
                <a:stCxn id="66" idx="5"/>
                <a:endCxn id="67" idx="1"/>
              </p:cNvCxnSpPr>
              <p:nvPr/>
            </p:nvCxnSpPr>
            <p:spPr>
              <a:xfrm>
                <a:off x="4294306" y="3707469"/>
                <a:ext cx="1227756" cy="2140836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直接连接符 30"/>
              <p:cNvCxnSpPr>
                <a:stCxn id="53" idx="5"/>
                <a:endCxn id="65" idx="1"/>
              </p:cNvCxnSpPr>
              <p:nvPr/>
            </p:nvCxnSpPr>
            <p:spPr>
              <a:xfrm>
                <a:off x="2494504" y="3761893"/>
                <a:ext cx="1006882" cy="1262023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直接连接符 31"/>
              <p:cNvCxnSpPr>
                <a:stCxn id="65" idx="7"/>
                <a:endCxn id="66" idx="2"/>
              </p:cNvCxnSpPr>
              <p:nvPr/>
            </p:nvCxnSpPr>
            <p:spPr>
              <a:xfrm flipV="1">
                <a:off x="3552298" y="3682013"/>
                <a:ext cx="680552" cy="1341903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直接连接符 32"/>
              <p:cNvCxnSpPr>
                <a:stCxn id="65" idx="0"/>
                <a:endCxn id="62" idx="4"/>
              </p:cNvCxnSpPr>
              <p:nvPr/>
            </p:nvCxnSpPr>
            <p:spPr>
              <a:xfrm flipH="1" flipV="1">
                <a:off x="3317968" y="2581627"/>
                <a:ext cx="208874" cy="2431745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直接连接符 33"/>
              <p:cNvCxnSpPr>
                <a:stCxn id="62" idx="1"/>
                <a:endCxn id="49" idx="4"/>
              </p:cNvCxnSpPr>
              <p:nvPr/>
            </p:nvCxnSpPr>
            <p:spPr>
              <a:xfrm flipH="1" flipV="1">
                <a:off x="3245968" y="1921650"/>
                <a:ext cx="46544" cy="598521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直接连接符 34"/>
              <p:cNvCxnSpPr>
                <a:stCxn id="56" idx="0"/>
                <a:endCxn id="68" idx="4"/>
              </p:cNvCxnSpPr>
              <p:nvPr/>
            </p:nvCxnSpPr>
            <p:spPr>
              <a:xfrm flipV="1">
                <a:off x="6960914" y="3689168"/>
                <a:ext cx="84641" cy="1889941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直接连接符 35"/>
              <p:cNvCxnSpPr>
                <a:stCxn id="68" idx="3"/>
                <a:endCxn id="67" idx="7"/>
              </p:cNvCxnSpPr>
              <p:nvPr/>
            </p:nvCxnSpPr>
            <p:spPr>
              <a:xfrm flipH="1">
                <a:off x="5572974" y="3678624"/>
                <a:ext cx="1447125" cy="2169681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直接连接符 36"/>
              <p:cNvCxnSpPr>
                <a:stCxn id="67" idx="6"/>
                <a:endCxn id="56" idx="2"/>
              </p:cNvCxnSpPr>
              <p:nvPr/>
            </p:nvCxnSpPr>
            <p:spPr>
              <a:xfrm flipV="1">
                <a:off x="5583518" y="5615109"/>
                <a:ext cx="1341396" cy="25865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直接连接符 37"/>
              <p:cNvCxnSpPr>
                <a:stCxn id="67" idx="5"/>
                <a:endCxn id="59" idx="1"/>
              </p:cNvCxnSpPr>
              <p:nvPr/>
            </p:nvCxnSpPr>
            <p:spPr>
              <a:xfrm>
                <a:off x="5572974" y="5899217"/>
                <a:ext cx="527898" cy="244415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直接连接符 38"/>
              <p:cNvCxnSpPr>
                <a:stCxn id="66" idx="0"/>
                <a:endCxn id="61" idx="3"/>
              </p:cNvCxnSpPr>
              <p:nvPr/>
            </p:nvCxnSpPr>
            <p:spPr>
              <a:xfrm flipV="1">
                <a:off x="4268850" y="2871133"/>
                <a:ext cx="382447" cy="774880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直接连接符 39"/>
              <p:cNvCxnSpPr>
                <a:stCxn id="65" idx="6"/>
                <a:endCxn id="67" idx="2"/>
              </p:cNvCxnSpPr>
              <p:nvPr/>
            </p:nvCxnSpPr>
            <p:spPr>
              <a:xfrm>
                <a:off x="3562842" y="5049372"/>
                <a:ext cx="1948676" cy="824389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直接连接符 40"/>
              <p:cNvCxnSpPr>
                <a:stCxn id="54" idx="6"/>
                <a:endCxn id="65" idx="2"/>
              </p:cNvCxnSpPr>
              <p:nvPr/>
            </p:nvCxnSpPr>
            <p:spPr>
              <a:xfrm>
                <a:off x="2723516" y="4804810"/>
                <a:ext cx="767326" cy="24456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直接连接符 41"/>
              <p:cNvCxnSpPr>
                <a:stCxn id="57" idx="7"/>
                <a:endCxn id="65" idx="3"/>
              </p:cNvCxnSpPr>
              <p:nvPr/>
            </p:nvCxnSpPr>
            <p:spPr>
              <a:xfrm flipV="1">
                <a:off x="3271424" y="5074828"/>
                <a:ext cx="229962" cy="51057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直接连接符 42"/>
              <p:cNvCxnSpPr>
                <a:stCxn id="58" idx="0"/>
                <a:endCxn id="65" idx="5"/>
              </p:cNvCxnSpPr>
              <p:nvPr/>
            </p:nvCxnSpPr>
            <p:spPr>
              <a:xfrm flipH="1" flipV="1">
                <a:off x="3552298" y="5074828"/>
                <a:ext cx="539139" cy="1058756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直接连接符 43"/>
              <p:cNvCxnSpPr>
                <a:stCxn id="58" idx="7"/>
                <a:endCxn id="67" idx="2"/>
              </p:cNvCxnSpPr>
              <p:nvPr/>
            </p:nvCxnSpPr>
            <p:spPr>
              <a:xfrm flipV="1">
                <a:off x="4116893" y="5873761"/>
                <a:ext cx="1394625" cy="270367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69" name="组合 68"/>
          <p:cNvGrpSpPr/>
          <p:nvPr/>
        </p:nvGrpSpPr>
        <p:grpSpPr>
          <a:xfrm>
            <a:off x="573123" y="1045770"/>
            <a:ext cx="3058946" cy="3056074"/>
            <a:chOff x="1308745" y="2394284"/>
            <a:chExt cx="2326780" cy="2324596"/>
          </a:xfrm>
        </p:grpSpPr>
        <p:pic>
          <p:nvPicPr>
            <p:cNvPr id="70" name="图片 69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00162" y="2491188"/>
              <a:ext cx="2143001" cy="2140801"/>
            </a:xfrm>
            <a:prstGeom prst="rect">
              <a:avLst/>
            </a:prstGeom>
          </p:spPr>
        </p:pic>
        <p:grpSp>
          <p:nvGrpSpPr>
            <p:cNvPr id="71" name="组合 70"/>
            <p:cNvGrpSpPr/>
            <p:nvPr/>
          </p:nvGrpSpPr>
          <p:grpSpPr>
            <a:xfrm>
              <a:off x="1308745" y="2394284"/>
              <a:ext cx="2326780" cy="2324596"/>
              <a:chOff x="2433048" y="1083945"/>
              <a:chExt cx="5333787" cy="5328780"/>
            </a:xfrm>
          </p:grpSpPr>
          <p:sp>
            <p:nvSpPr>
              <p:cNvPr id="72" name="十六角星 71"/>
              <p:cNvSpPr/>
              <p:nvPr/>
            </p:nvSpPr>
            <p:spPr>
              <a:xfrm>
                <a:off x="2470676" y="1127265"/>
                <a:ext cx="5254344" cy="5254344"/>
              </a:xfrm>
              <a:prstGeom prst="star16">
                <a:avLst>
                  <a:gd name="adj" fmla="val 49459"/>
                </a:avLst>
              </a:prstGeom>
              <a:noFill/>
              <a:ln w="6350">
                <a:solidFill>
                  <a:srgbClr val="9D819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grpSp>
            <p:nvGrpSpPr>
              <p:cNvPr id="73" name="组合 72"/>
              <p:cNvGrpSpPr/>
              <p:nvPr/>
            </p:nvGrpSpPr>
            <p:grpSpPr>
              <a:xfrm>
                <a:off x="2433048" y="1083945"/>
                <a:ext cx="5333787" cy="5328780"/>
                <a:chOff x="2280648" y="931545"/>
                <a:chExt cx="5333787" cy="5328780"/>
              </a:xfrm>
            </p:grpSpPr>
            <p:sp>
              <p:nvSpPr>
                <p:cNvPr id="110" name="椭圆 109"/>
                <p:cNvSpPr/>
                <p:nvPr/>
              </p:nvSpPr>
              <p:spPr>
                <a:xfrm>
                  <a:off x="3903037" y="1131665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11" name="椭圆 110"/>
                <p:cNvSpPr/>
                <p:nvPr/>
              </p:nvSpPr>
              <p:spPr>
                <a:xfrm>
                  <a:off x="4916848" y="931545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12" name="椭圆 111"/>
                <p:cNvSpPr/>
                <p:nvPr/>
              </p:nvSpPr>
              <p:spPr>
                <a:xfrm>
                  <a:off x="5937928" y="1131169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13" name="椭圆 112"/>
                <p:cNvSpPr/>
                <p:nvPr/>
              </p:nvSpPr>
              <p:spPr>
                <a:xfrm>
                  <a:off x="6763087" y="170149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14" name="椭圆 113"/>
                <p:cNvSpPr/>
                <p:nvPr/>
              </p:nvSpPr>
              <p:spPr>
                <a:xfrm>
                  <a:off x="3057568" y="1697250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15" name="椭圆 114"/>
                <p:cNvSpPr/>
                <p:nvPr/>
              </p:nvSpPr>
              <p:spPr>
                <a:xfrm>
                  <a:off x="2481128" y="2556341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16" name="椭圆 115"/>
                <p:cNvSpPr/>
                <p:nvPr/>
              </p:nvSpPr>
              <p:spPr>
                <a:xfrm>
                  <a:off x="7344374" y="2556341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17" name="椭圆 116"/>
                <p:cNvSpPr/>
                <p:nvPr/>
              </p:nvSpPr>
              <p:spPr>
                <a:xfrm>
                  <a:off x="7542435" y="354803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18" name="椭圆 117"/>
                <p:cNvSpPr/>
                <p:nvPr/>
              </p:nvSpPr>
              <p:spPr>
                <a:xfrm>
                  <a:off x="2280648" y="354803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19" name="椭圆 118"/>
                <p:cNvSpPr/>
                <p:nvPr/>
              </p:nvSpPr>
              <p:spPr>
                <a:xfrm>
                  <a:off x="2499116" y="4616410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20" name="椭圆 119"/>
                <p:cNvSpPr/>
                <p:nvPr/>
              </p:nvSpPr>
              <p:spPr>
                <a:xfrm>
                  <a:off x="7321514" y="4589735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21" name="椭圆 120"/>
                <p:cNvSpPr/>
                <p:nvPr/>
              </p:nvSpPr>
              <p:spPr>
                <a:xfrm>
                  <a:off x="6772514" y="5426709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22" name="椭圆 121"/>
                <p:cNvSpPr/>
                <p:nvPr/>
              </p:nvSpPr>
              <p:spPr>
                <a:xfrm>
                  <a:off x="3057568" y="5422462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23" name="椭圆 122"/>
                <p:cNvSpPr/>
                <p:nvPr/>
              </p:nvSpPr>
              <p:spPr>
                <a:xfrm>
                  <a:off x="3903037" y="5981184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24" name="椭圆 123"/>
                <p:cNvSpPr/>
                <p:nvPr/>
              </p:nvSpPr>
              <p:spPr>
                <a:xfrm>
                  <a:off x="5937928" y="5980688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25" name="椭圆 124"/>
                <p:cNvSpPr/>
                <p:nvPr/>
              </p:nvSpPr>
              <p:spPr>
                <a:xfrm>
                  <a:off x="4916848" y="6188325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26" name="椭圆 125"/>
                <p:cNvSpPr/>
                <p:nvPr/>
              </p:nvSpPr>
              <p:spPr>
                <a:xfrm>
                  <a:off x="4488353" y="265727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27" name="椭圆 126"/>
                <p:cNvSpPr/>
                <p:nvPr/>
              </p:nvSpPr>
              <p:spPr>
                <a:xfrm>
                  <a:off x="3129568" y="235722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28" name="椭圆 127"/>
                <p:cNvSpPr/>
                <p:nvPr/>
              </p:nvSpPr>
              <p:spPr>
                <a:xfrm>
                  <a:off x="6107323" y="257222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29" name="椭圆 128"/>
                <p:cNvSpPr/>
                <p:nvPr/>
              </p:nvSpPr>
              <p:spPr>
                <a:xfrm>
                  <a:off x="5431118" y="1544823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30" name="椭圆 129"/>
                <p:cNvSpPr/>
                <p:nvPr/>
              </p:nvSpPr>
              <p:spPr>
                <a:xfrm>
                  <a:off x="3338442" y="4860972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31" name="椭圆 130"/>
                <p:cNvSpPr/>
                <p:nvPr/>
              </p:nvSpPr>
              <p:spPr>
                <a:xfrm>
                  <a:off x="4080450" y="3493613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32" name="椭圆 131"/>
                <p:cNvSpPr/>
                <p:nvPr/>
              </p:nvSpPr>
              <p:spPr>
                <a:xfrm>
                  <a:off x="5359118" y="5685361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33" name="椭圆 132"/>
                <p:cNvSpPr/>
                <p:nvPr/>
              </p:nvSpPr>
              <p:spPr>
                <a:xfrm>
                  <a:off x="6857155" y="3464768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</p:grpSp>
          <p:cxnSp>
            <p:nvCxnSpPr>
              <p:cNvPr id="74" name="直接连接符 73"/>
              <p:cNvCxnSpPr>
                <a:stCxn id="111" idx="4"/>
                <a:endCxn id="129" idx="0"/>
              </p:cNvCxnSpPr>
              <p:nvPr/>
            </p:nvCxnSpPr>
            <p:spPr>
              <a:xfrm>
                <a:off x="5105248" y="1155945"/>
                <a:ext cx="514270" cy="54127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直接连接符 74"/>
              <p:cNvCxnSpPr>
                <a:stCxn id="110" idx="5"/>
                <a:endCxn id="129" idx="2"/>
              </p:cNvCxnSpPr>
              <p:nvPr/>
            </p:nvCxnSpPr>
            <p:spPr>
              <a:xfrm>
                <a:off x="4116893" y="1345521"/>
                <a:ext cx="1466625" cy="38770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直接连接符 75"/>
              <p:cNvCxnSpPr>
                <a:stCxn id="127" idx="0"/>
                <a:endCxn id="110" idx="4"/>
              </p:cNvCxnSpPr>
              <p:nvPr/>
            </p:nvCxnSpPr>
            <p:spPr>
              <a:xfrm flipV="1">
                <a:off x="3317968" y="1356065"/>
                <a:ext cx="773469" cy="115356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直接连接符 76"/>
              <p:cNvCxnSpPr>
                <a:stCxn id="132" idx="3"/>
                <a:endCxn id="125" idx="0"/>
              </p:cNvCxnSpPr>
              <p:nvPr/>
            </p:nvCxnSpPr>
            <p:spPr>
              <a:xfrm flipH="1">
                <a:off x="5105248" y="5899217"/>
                <a:ext cx="416814" cy="44150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直接连接符 77"/>
              <p:cNvCxnSpPr>
                <a:stCxn id="115" idx="6"/>
              </p:cNvCxnSpPr>
              <p:nvPr/>
            </p:nvCxnSpPr>
            <p:spPr>
              <a:xfrm flipV="1">
                <a:off x="2705528" y="2545627"/>
                <a:ext cx="576440" cy="199114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直接连接符 78"/>
              <p:cNvCxnSpPr>
                <a:stCxn id="127" idx="6"/>
                <a:endCxn id="126" idx="2"/>
              </p:cNvCxnSpPr>
              <p:nvPr/>
            </p:nvCxnSpPr>
            <p:spPr>
              <a:xfrm>
                <a:off x="3353968" y="2545627"/>
                <a:ext cx="1286785" cy="300050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直接连接符 79"/>
              <p:cNvCxnSpPr>
                <a:stCxn id="126" idx="0"/>
                <a:endCxn id="129" idx="4"/>
              </p:cNvCxnSpPr>
              <p:nvPr/>
            </p:nvCxnSpPr>
            <p:spPr>
              <a:xfrm flipV="1">
                <a:off x="4676753" y="1769223"/>
                <a:ext cx="942765" cy="1040454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直接连接符 80"/>
              <p:cNvCxnSpPr>
                <a:stCxn id="118" idx="7"/>
                <a:endCxn id="127" idx="3"/>
              </p:cNvCxnSpPr>
              <p:nvPr/>
            </p:nvCxnSpPr>
            <p:spPr>
              <a:xfrm flipV="1">
                <a:off x="2494504" y="2571083"/>
                <a:ext cx="798008" cy="113989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直接连接符 81"/>
              <p:cNvCxnSpPr>
                <a:stCxn id="127" idx="5"/>
                <a:endCxn id="131" idx="1"/>
              </p:cNvCxnSpPr>
              <p:nvPr/>
            </p:nvCxnSpPr>
            <p:spPr>
              <a:xfrm>
                <a:off x="3343424" y="2571083"/>
                <a:ext cx="899970" cy="1085474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直接连接符 82"/>
              <p:cNvCxnSpPr>
                <a:stCxn id="129" idx="7"/>
                <a:endCxn id="112" idx="3"/>
              </p:cNvCxnSpPr>
              <p:nvPr/>
            </p:nvCxnSpPr>
            <p:spPr>
              <a:xfrm flipV="1">
                <a:off x="5644974" y="1345025"/>
                <a:ext cx="455898" cy="36274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直接连接符 83"/>
              <p:cNvCxnSpPr>
                <a:stCxn id="129" idx="6"/>
                <a:endCxn id="113" idx="2"/>
              </p:cNvCxnSpPr>
              <p:nvPr/>
            </p:nvCxnSpPr>
            <p:spPr>
              <a:xfrm>
                <a:off x="5655518" y="1733223"/>
                <a:ext cx="1259969" cy="156674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直接连接符 84"/>
              <p:cNvCxnSpPr>
                <a:stCxn id="127" idx="7"/>
                <a:endCxn id="129" idx="3"/>
              </p:cNvCxnSpPr>
              <p:nvPr/>
            </p:nvCxnSpPr>
            <p:spPr>
              <a:xfrm flipV="1">
                <a:off x="3343424" y="1758679"/>
                <a:ext cx="2250638" cy="76149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直接连接符 85"/>
              <p:cNvCxnSpPr>
                <a:stCxn id="129" idx="5"/>
                <a:endCxn id="128" idx="1"/>
              </p:cNvCxnSpPr>
              <p:nvPr/>
            </p:nvCxnSpPr>
            <p:spPr>
              <a:xfrm>
                <a:off x="5644974" y="1758679"/>
                <a:ext cx="625293" cy="97649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直接连接符 86"/>
              <p:cNvCxnSpPr>
                <a:stCxn id="126" idx="6"/>
                <a:endCxn id="128" idx="2"/>
              </p:cNvCxnSpPr>
              <p:nvPr/>
            </p:nvCxnSpPr>
            <p:spPr>
              <a:xfrm flipV="1">
                <a:off x="4712753" y="2760627"/>
                <a:ext cx="1546970" cy="85050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直接连接符 87"/>
              <p:cNvCxnSpPr>
                <a:stCxn id="128" idx="3"/>
                <a:endCxn id="132" idx="0"/>
              </p:cNvCxnSpPr>
              <p:nvPr/>
            </p:nvCxnSpPr>
            <p:spPr>
              <a:xfrm flipH="1">
                <a:off x="5547518" y="2786083"/>
                <a:ext cx="722749" cy="305167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直接连接符 88"/>
              <p:cNvCxnSpPr>
                <a:stCxn id="128" idx="0"/>
                <a:endCxn id="113" idx="3"/>
              </p:cNvCxnSpPr>
              <p:nvPr/>
            </p:nvCxnSpPr>
            <p:spPr>
              <a:xfrm flipV="1">
                <a:off x="6295723" y="1915353"/>
                <a:ext cx="630308" cy="809274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直接连接符 89"/>
              <p:cNvCxnSpPr>
                <a:stCxn id="128" idx="5"/>
                <a:endCxn id="133" idx="1"/>
              </p:cNvCxnSpPr>
              <p:nvPr/>
            </p:nvCxnSpPr>
            <p:spPr>
              <a:xfrm>
                <a:off x="6321179" y="2786083"/>
                <a:ext cx="698920" cy="841629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直接连接符 90"/>
              <p:cNvCxnSpPr>
                <a:stCxn id="133" idx="0"/>
                <a:endCxn id="113" idx="4"/>
              </p:cNvCxnSpPr>
              <p:nvPr/>
            </p:nvCxnSpPr>
            <p:spPr>
              <a:xfrm flipH="1" flipV="1">
                <a:off x="6951487" y="1925897"/>
                <a:ext cx="94068" cy="1691271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直接连接符 91"/>
              <p:cNvCxnSpPr>
                <a:stCxn id="133" idx="7"/>
                <a:endCxn id="116" idx="3"/>
              </p:cNvCxnSpPr>
              <p:nvPr/>
            </p:nvCxnSpPr>
            <p:spPr>
              <a:xfrm flipV="1">
                <a:off x="7071011" y="2770197"/>
                <a:ext cx="436307" cy="857515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直接连接符 92"/>
              <p:cNvCxnSpPr>
                <a:stCxn id="120" idx="1"/>
                <a:endCxn id="133" idx="5"/>
              </p:cNvCxnSpPr>
              <p:nvPr/>
            </p:nvCxnSpPr>
            <p:spPr>
              <a:xfrm flipH="1" flipV="1">
                <a:off x="7071011" y="3678624"/>
                <a:ext cx="413447" cy="1074055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直接连接符 93"/>
              <p:cNvCxnSpPr>
                <a:stCxn id="126" idx="4"/>
                <a:endCxn id="132" idx="1"/>
              </p:cNvCxnSpPr>
              <p:nvPr/>
            </p:nvCxnSpPr>
            <p:spPr>
              <a:xfrm>
                <a:off x="4676753" y="2881677"/>
                <a:ext cx="845309" cy="296662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直接连接符 94"/>
              <p:cNvCxnSpPr>
                <a:stCxn id="131" idx="5"/>
                <a:endCxn id="132" idx="1"/>
              </p:cNvCxnSpPr>
              <p:nvPr/>
            </p:nvCxnSpPr>
            <p:spPr>
              <a:xfrm>
                <a:off x="4294306" y="3707469"/>
                <a:ext cx="1227756" cy="2140836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直接连接符 95"/>
              <p:cNvCxnSpPr>
                <a:stCxn id="118" idx="5"/>
                <a:endCxn id="130" idx="1"/>
              </p:cNvCxnSpPr>
              <p:nvPr/>
            </p:nvCxnSpPr>
            <p:spPr>
              <a:xfrm>
                <a:off x="2494504" y="3761893"/>
                <a:ext cx="1006882" cy="1262023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" name="直接连接符 96"/>
              <p:cNvCxnSpPr>
                <a:stCxn id="130" idx="7"/>
                <a:endCxn id="131" idx="2"/>
              </p:cNvCxnSpPr>
              <p:nvPr/>
            </p:nvCxnSpPr>
            <p:spPr>
              <a:xfrm flipV="1">
                <a:off x="3552298" y="3682013"/>
                <a:ext cx="680552" cy="1341903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直接连接符 97"/>
              <p:cNvCxnSpPr>
                <a:stCxn id="130" idx="0"/>
                <a:endCxn id="127" idx="4"/>
              </p:cNvCxnSpPr>
              <p:nvPr/>
            </p:nvCxnSpPr>
            <p:spPr>
              <a:xfrm flipH="1" flipV="1">
                <a:off x="3317968" y="2581627"/>
                <a:ext cx="208874" cy="2431745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直接连接符 98"/>
              <p:cNvCxnSpPr>
                <a:stCxn id="127" idx="1"/>
                <a:endCxn id="114" idx="4"/>
              </p:cNvCxnSpPr>
              <p:nvPr/>
            </p:nvCxnSpPr>
            <p:spPr>
              <a:xfrm flipH="1" flipV="1">
                <a:off x="3245968" y="1921650"/>
                <a:ext cx="46544" cy="598521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直接连接符 99"/>
              <p:cNvCxnSpPr>
                <a:stCxn id="121" idx="0"/>
                <a:endCxn id="133" idx="4"/>
              </p:cNvCxnSpPr>
              <p:nvPr/>
            </p:nvCxnSpPr>
            <p:spPr>
              <a:xfrm flipV="1">
                <a:off x="6960914" y="3689168"/>
                <a:ext cx="84641" cy="1889941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直接连接符 100"/>
              <p:cNvCxnSpPr>
                <a:stCxn id="133" idx="3"/>
                <a:endCxn id="132" idx="7"/>
              </p:cNvCxnSpPr>
              <p:nvPr/>
            </p:nvCxnSpPr>
            <p:spPr>
              <a:xfrm flipH="1">
                <a:off x="5572974" y="3678624"/>
                <a:ext cx="1447125" cy="2169681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直接连接符 101"/>
              <p:cNvCxnSpPr>
                <a:stCxn id="132" idx="6"/>
                <a:endCxn id="121" idx="2"/>
              </p:cNvCxnSpPr>
              <p:nvPr/>
            </p:nvCxnSpPr>
            <p:spPr>
              <a:xfrm flipV="1">
                <a:off x="5583518" y="5615109"/>
                <a:ext cx="1341396" cy="25865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直接连接符 102"/>
              <p:cNvCxnSpPr>
                <a:stCxn id="132" idx="5"/>
                <a:endCxn id="124" idx="1"/>
              </p:cNvCxnSpPr>
              <p:nvPr/>
            </p:nvCxnSpPr>
            <p:spPr>
              <a:xfrm>
                <a:off x="5572974" y="5899217"/>
                <a:ext cx="527898" cy="244415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直接连接符 103"/>
              <p:cNvCxnSpPr>
                <a:stCxn id="131" idx="0"/>
                <a:endCxn id="126" idx="3"/>
              </p:cNvCxnSpPr>
              <p:nvPr/>
            </p:nvCxnSpPr>
            <p:spPr>
              <a:xfrm flipV="1">
                <a:off x="4268850" y="2871133"/>
                <a:ext cx="382447" cy="774880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直接连接符 104"/>
              <p:cNvCxnSpPr>
                <a:stCxn id="130" idx="6"/>
                <a:endCxn id="132" idx="2"/>
              </p:cNvCxnSpPr>
              <p:nvPr/>
            </p:nvCxnSpPr>
            <p:spPr>
              <a:xfrm>
                <a:off x="3562842" y="5049372"/>
                <a:ext cx="1948676" cy="824389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直接连接符 105"/>
              <p:cNvCxnSpPr>
                <a:stCxn id="119" idx="6"/>
                <a:endCxn id="130" idx="2"/>
              </p:cNvCxnSpPr>
              <p:nvPr/>
            </p:nvCxnSpPr>
            <p:spPr>
              <a:xfrm>
                <a:off x="2723516" y="4804810"/>
                <a:ext cx="767326" cy="24456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直接连接符 106"/>
              <p:cNvCxnSpPr>
                <a:stCxn id="122" idx="7"/>
                <a:endCxn id="130" idx="3"/>
              </p:cNvCxnSpPr>
              <p:nvPr/>
            </p:nvCxnSpPr>
            <p:spPr>
              <a:xfrm flipV="1">
                <a:off x="3271424" y="5074828"/>
                <a:ext cx="229962" cy="51057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直接连接符 107"/>
              <p:cNvCxnSpPr>
                <a:stCxn id="123" idx="0"/>
                <a:endCxn id="130" idx="5"/>
              </p:cNvCxnSpPr>
              <p:nvPr/>
            </p:nvCxnSpPr>
            <p:spPr>
              <a:xfrm flipH="1" flipV="1">
                <a:off x="3552298" y="5074828"/>
                <a:ext cx="539139" cy="1058756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直接连接符 108"/>
              <p:cNvCxnSpPr>
                <a:stCxn id="123" idx="7"/>
                <a:endCxn id="132" idx="2"/>
              </p:cNvCxnSpPr>
              <p:nvPr/>
            </p:nvCxnSpPr>
            <p:spPr>
              <a:xfrm flipV="1">
                <a:off x="4116893" y="5873761"/>
                <a:ext cx="1394625" cy="270367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34" name="文本框 133"/>
          <p:cNvSpPr txBox="1"/>
          <p:nvPr/>
        </p:nvSpPr>
        <p:spPr>
          <a:xfrm>
            <a:off x="4361361" y="1940062"/>
            <a:ext cx="1999576" cy="4996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选题原因</a:t>
            </a:r>
            <a:endParaRPr lang="en-US" altLang="zh-CN" sz="788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35" name="组合 134"/>
          <p:cNvGrpSpPr/>
          <p:nvPr/>
        </p:nvGrpSpPr>
        <p:grpSpPr>
          <a:xfrm>
            <a:off x="7551946" y="1149655"/>
            <a:ext cx="1118030" cy="1116980"/>
            <a:chOff x="6309221" y="788029"/>
            <a:chExt cx="2825105" cy="2822453"/>
          </a:xfrm>
        </p:grpSpPr>
        <p:sp>
          <p:nvSpPr>
            <p:cNvPr id="136" name="椭圆 135"/>
            <p:cNvSpPr/>
            <p:nvPr/>
          </p:nvSpPr>
          <p:spPr>
            <a:xfrm>
              <a:off x="6461555" y="939037"/>
              <a:ext cx="2520437" cy="2520437"/>
            </a:xfrm>
            <a:prstGeom prst="ellipse">
              <a:avLst/>
            </a:prstGeom>
            <a:solidFill>
              <a:srgbClr val="46365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  <p:grpSp>
          <p:nvGrpSpPr>
            <p:cNvPr id="137" name="组合 136"/>
            <p:cNvGrpSpPr/>
            <p:nvPr/>
          </p:nvGrpSpPr>
          <p:grpSpPr>
            <a:xfrm>
              <a:off x="6309221" y="788029"/>
              <a:ext cx="2825105" cy="2822453"/>
              <a:chOff x="2433048" y="1083945"/>
              <a:chExt cx="5333787" cy="5328780"/>
            </a:xfrm>
          </p:grpSpPr>
          <p:sp>
            <p:nvSpPr>
              <p:cNvPr id="138" name="十六角星 137"/>
              <p:cNvSpPr/>
              <p:nvPr/>
            </p:nvSpPr>
            <p:spPr>
              <a:xfrm>
                <a:off x="2470676" y="1127265"/>
                <a:ext cx="5254344" cy="5254344"/>
              </a:xfrm>
              <a:prstGeom prst="star16">
                <a:avLst>
                  <a:gd name="adj" fmla="val 49459"/>
                </a:avLst>
              </a:prstGeom>
              <a:noFill/>
              <a:ln w="6350">
                <a:solidFill>
                  <a:srgbClr val="9D819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grpSp>
            <p:nvGrpSpPr>
              <p:cNvPr id="139" name="组合 138"/>
              <p:cNvGrpSpPr/>
              <p:nvPr/>
            </p:nvGrpSpPr>
            <p:grpSpPr>
              <a:xfrm>
                <a:off x="2433048" y="1083945"/>
                <a:ext cx="5333787" cy="5328780"/>
                <a:chOff x="2280648" y="931545"/>
                <a:chExt cx="5333787" cy="5328780"/>
              </a:xfrm>
            </p:grpSpPr>
            <p:sp>
              <p:nvSpPr>
                <p:cNvPr id="176" name="椭圆 175"/>
                <p:cNvSpPr/>
                <p:nvPr/>
              </p:nvSpPr>
              <p:spPr>
                <a:xfrm>
                  <a:off x="3903037" y="1131665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77" name="椭圆 176"/>
                <p:cNvSpPr/>
                <p:nvPr/>
              </p:nvSpPr>
              <p:spPr>
                <a:xfrm>
                  <a:off x="4916848" y="931545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78" name="椭圆 177"/>
                <p:cNvSpPr/>
                <p:nvPr/>
              </p:nvSpPr>
              <p:spPr>
                <a:xfrm>
                  <a:off x="5937928" y="1131169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79" name="椭圆 178"/>
                <p:cNvSpPr/>
                <p:nvPr/>
              </p:nvSpPr>
              <p:spPr>
                <a:xfrm>
                  <a:off x="6763087" y="170149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80" name="椭圆 179"/>
                <p:cNvSpPr/>
                <p:nvPr/>
              </p:nvSpPr>
              <p:spPr>
                <a:xfrm>
                  <a:off x="3057568" y="1697250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81" name="椭圆 180"/>
                <p:cNvSpPr/>
                <p:nvPr/>
              </p:nvSpPr>
              <p:spPr>
                <a:xfrm>
                  <a:off x="2481128" y="2556341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82" name="椭圆 181"/>
                <p:cNvSpPr/>
                <p:nvPr/>
              </p:nvSpPr>
              <p:spPr>
                <a:xfrm>
                  <a:off x="7344374" y="2556341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83" name="椭圆 182"/>
                <p:cNvSpPr/>
                <p:nvPr/>
              </p:nvSpPr>
              <p:spPr>
                <a:xfrm>
                  <a:off x="7542435" y="354803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84" name="椭圆 183"/>
                <p:cNvSpPr/>
                <p:nvPr/>
              </p:nvSpPr>
              <p:spPr>
                <a:xfrm>
                  <a:off x="2280648" y="354803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85" name="椭圆 184"/>
                <p:cNvSpPr/>
                <p:nvPr/>
              </p:nvSpPr>
              <p:spPr>
                <a:xfrm>
                  <a:off x="2499116" y="4616410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86" name="椭圆 185"/>
                <p:cNvSpPr/>
                <p:nvPr/>
              </p:nvSpPr>
              <p:spPr>
                <a:xfrm>
                  <a:off x="7321514" y="4589735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87" name="椭圆 186"/>
                <p:cNvSpPr/>
                <p:nvPr/>
              </p:nvSpPr>
              <p:spPr>
                <a:xfrm>
                  <a:off x="6772514" y="5426709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88" name="椭圆 187"/>
                <p:cNvSpPr/>
                <p:nvPr/>
              </p:nvSpPr>
              <p:spPr>
                <a:xfrm>
                  <a:off x="3057568" y="5422462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89" name="椭圆 188"/>
                <p:cNvSpPr/>
                <p:nvPr/>
              </p:nvSpPr>
              <p:spPr>
                <a:xfrm>
                  <a:off x="3903037" y="5981184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90" name="椭圆 189"/>
                <p:cNvSpPr/>
                <p:nvPr/>
              </p:nvSpPr>
              <p:spPr>
                <a:xfrm>
                  <a:off x="5937928" y="5980688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91" name="椭圆 190"/>
                <p:cNvSpPr/>
                <p:nvPr/>
              </p:nvSpPr>
              <p:spPr>
                <a:xfrm>
                  <a:off x="4916848" y="6188325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92" name="椭圆 191"/>
                <p:cNvSpPr/>
                <p:nvPr/>
              </p:nvSpPr>
              <p:spPr>
                <a:xfrm>
                  <a:off x="4488353" y="265727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93" name="椭圆 192"/>
                <p:cNvSpPr/>
                <p:nvPr/>
              </p:nvSpPr>
              <p:spPr>
                <a:xfrm>
                  <a:off x="3129568" y="235722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94" name="椭圆 193"/>
                <p:cNvSpPr/>
                <p:nvPr/>
              </p:nvSpPr>
              <p:spPr>
                <a:xfrm>
                  <a:off x="6107323" y="257222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95" name="椭圆 194"/>
                <p:cNvSpPr/>
                <p:nvPr/>
              </p:nvSpPr>
              <p:spPr>
                <a:xfrm>
                  <a:off x="5431118" y="1544823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96" name="椭圆 195"/>
                <p:cNvSpPr/>
                <p:nvPr/>
              </p:nvSpPr>
              <p:spPr>
                <a:xfrm>
                  <a:off x="3338442" y="4860972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97" name="椭圆 196"/>
                <p:cNvSpPr/>
                <p:nvPr/>
              </p:nvSpPr>
              <p:spPr>
                <a:xfrm>
                  <a:off x="4080450" y="3493613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98" name="椭圆 197"/>
                <p:cNvSpPr/>
                <p:nvPr/>
              </p:nvSpPr>
              <p:spPr>
                <a:xfrm>
                  <a:off x="5359118" y="5685361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99" name="椭圆 198"/>
                <p:cNvSpPr/>
                <p:nvPr/>
              </p:nvSpPr>
              <p:spPr>
                <a:xfrm>
                  <a:off x="6857155" y="3464768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</p:grpSp>
          <p:cxnSp>
            <p:nvCxnSpPr>
              <p:cNvPr id="140" name="直接连接符 139"/>
              <p:cNvCxnSpPr>
                <a:stCxn id="177" idx="4"/>
                <a:endCxn id="195" idx="0"/>
              </p:cNvCxnSpPr>
              <p:nvPr/>
            </p:nvCxnSpPr>
            <p:spPr>
              <a:xfrm>
                <a:off x="5105248" y="1155945"/>
                <a:ext cx="514270" cy="54127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直接连接符 140"/>
              <p:cNvCxnSpPr>
                <a:stCxn id="176" idx="5"/>
                <a:endCxn id="195" idx="2"/>
              </p:cNvCxnSpPr>
              <p:nvPr/>
            </p:nvCxnSpPr>
            <p:spPr>
              <a:xfrm>
                <a:off x="4116893" y="1345521"/>
                <a:ext cx="1466625" cy="38770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直接连接符 141"/>
              <p:cNvCxnSpPr>
                <a:stCxn id="193" idx="0"/>
                <a:endCxn id="176" idx="4"/>
              </p:cNvCxnSpPr>
              <p:nvPr/>
            </p:nvCxnSpPr>
            <p:spPr>
              <a:xfrm flipV="1">
                <a:off x="3317968" y="1356065"/>
                <a:ext cx="773469" cy="115356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3" name="直接连接符 142"/>
              <p:cNvCxnSpPr>
                <a:stCxn id="198" idx="3"/>
                <a:endCxn id="191" idx="0"/>
              </p:cNvCxnSpPr>
              <p:nvPr/>
            </p:nvCxnSpPr>
            <p:spPr>
              <a:xfrm flipH="1">
                <a:off x="5105248" y="5899217"/>
                <a:ext cx="416814" cy="44150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直接连接符 143"/>
              <p:cNvCxnSpPr>
                <a:stCxn id="181" idx="6"/>
              </p:cNvCxnSpPr>
              <p:nvPr/>
            </p:nvCxnSpPr>
            <p:spPr>
              <a:xfrm flipV="1">
                <a:off x="2705528" y="2545627"/>
                <a:ext cx="576440" cy="199114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5" name="直接连接符 144"/>
              <p:cNvCxnSpPr>
                <a:stCxn id="193" idx="6"/>
                <a:endCxn id="192" idx="2"/>
              </p:cNvCxnSpPr>
              <p:nvPr/>
            </p:nvCxnSpPr>
            <p:spPr>
              <a:xfrm>
                <a:off x="3353968" y="2545627"/>
                <a:ext cx="1286785" cy="300050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直接连接符 145"/>
              <p:cNvCxnSpPr>
                <a:stCxn id="192" idx="0"/>
                <a:endCxn id="195" idx="4"/>
              </p:cNvCxnSpPr>
              <p:nvPr/>
            </p:nvCxnSpPr>
            <p:spPr>
              <a:xfrm flipV="1">
                <a:off x="4676753" y="1769223"/>
                <a:ext cx="942765" cy="1040454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7" name="直接连接符 146"/>
              <p:cNvCxnSpPr>
                <a:stCxn id="184" idx="7"/>
                <a:endCxn id="193" idx="3"/>
              </p:cNvCxnSpPr>
              <p:nvPr/>
            </p:nvCxnSpPr>
            <p:spPr>
              <a:xfrm flipV="1">
                <a:off x="2494504" y="2571083"/>
                <a:ext cx="798008" cy="113989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直接连接符 147"/>
              <p:cNvCxnSpPr>
                <a:stCxn id="193" idx="5"/>
                <a:endCxn id="197" idx="1"/>
              </p:cNvCxnSpPr>
              <p:nvPr/>
            </p:nvCxnSpPr>
            <p:spPr>
              <a:xfrm>
                <a:off x="3343424" y="2571083"/>
                <a:ext cx="899970" cy="1085474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直接连接符 148"/>
              <p:cNvCxnSpPr>
                <a:stCxn id="195" idx="7"/>
                <a:endCxn id="178" idx="3"/>
              </p:cNvCxnSpPr>
              <p:nvPr/>
            </p:nvCxnSpPr>
            <p:spPr>
              <a:xfrm flipV="1">
                <a:off x="5644974" y="1345025"/>
                <a:ext cx="455898" cy="36274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直接连接符 149"/>
              <p:cNvCxnSpPr>
                <a:stCxn id="195" idx="6"/>
                <a:endCxn id="179" idx="2"/>
              </p:cNvCxnSpPr>
              <p:nvPr/>
            </p:nvCxnSpPr>
            <p:spPr>
              <a:xfrm>
                <a:off x="5655518" y="1733223"/>
                <a:ext cx="1259969" cy="156674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1" name="直接连接符 150"/>
              <p:cNvCxnSpPr>
                <a:stCxn id="193" idx="7"/>
                <a:endCxn id="195" idx="3"/>
              </p:cNvCxnSpPr>
              <p:nvPr/>
            </p:nvCxnSpPr>
            <p:spPr>
              <a:xfrm flipV="1">
                <a:off x="3343424" y="1758679"/>
                <a:ext cx="2250638" cy="76149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直接连接符 151"/>
              <p:cNvCxnSpPr>
                <a:stCxn id="195" idx="5"/>
                <a:endCxn id="194" idx="1"/>
              </p:cNvCxnSpPr>
              <p:nvPr/>
            </p:nvCxnSpPr>
            <p:spPr>
              <a:xfrm>
                <a:off x="5644974" y="1758679"/>
                <a:ext cx="625293" cy="97649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3" name="直接连接符 152"/>
              <p:cNvCxnSpPr>
                <a:stCxn id="192" idx="6"/>
                <a:endCxn id="194" idx="2"/>
              </p:cNvCxnSpPr>
              <p:nvPr/>
            </p:nvCxnSpPr>
            <p:spPr>
              <a:xfrm flipV="1">
                <a:off x="4712753" y="2760627"/>
                <a:ext cx="1546970" cy="85050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直接连接符 153"/>
              <p:cNvCxnSpPr>
                <a:stCxn id="194" idx="3"/>
                <a:endCxn id="198" idx="0"/>
              </p:cNvCxnSpPr>
              <p:nvPr/>
            </p:nvCxnSpPr>
            <p:spPr>
              <a:xfrm flipH="1">
                <a:off x="5547518" y="2786083"/>
                <a:ext cx="722749" cy="305167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5" name="直接连接符 154"/>
              <p:cNvCxnSpPr>
                <a:stCxn id="194" idx="0"/>
                <a:endCxn id="179" idx="3"/>
              </p:cNvCxnSpPr>
              <p:nvPr/>
            </p:nvCxnSpPr>
            <p:spPr>
              <a:xfrm flipV="1">
                <a:off x="6295723" y="1915353"/>
                <a:ext cx="630308" cy="809274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直接连接符 155"/>
              <p:cNvCxnSpPr>
                <a:stCxn id="194" idx="5"/>
                <a:endCxn id="199" idx="1"/>
              </p:cNvCxnSpPr>
              <p:nvPr/>
            </p:nvCxnSpPr>
            <p:spPr>
              <a:xfrm>
                <a:off x="6321179" y="2786083"/>
                <a:ext cx="698920" cy="841629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直接连接符 156"/>
              <p:cNvCxnSpPr>
                <a:stCxn id="199" idx="0"/>
                <a:endCxn id="179" idx="4"/>
              </p:cNvCxnSpPr>
              <p:nvPr/>
            </p:nvCxnSpPr>
            <p:spPr>
              <a:xfrm flipH="1" flipV="1">
                <a:off x="6951487" y="1925897"/>
                <a:ext cx="94068" cy="1691271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直接连接符 157"/>
              <p:cNvCxnSpPr>
                <a:stCxn id="199" idx="7"/>
                <a:endCxn id="182" idx="3"/>
              </p:cNvCxnSpPr>
              <p:nvPr/>
            </p:nvCxnSpPr>
            <p:spPr>
              <a:xfrm flipV="1">
                <a:off x="7071011" y="2770197"/>
                <a:ext cx="436307" cy="857515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直接连接符 158"/>
              <p:cNvCxnSpPr>
                <a:stCxn id="186" idx="1"/>
                <a:endCxn id="199" idx="5"/>
              </p:cNvCxnSpPr>
              <p:nvPr/>
            </p:nvCxnSpPr>
            <p:spPr>
              <a:xfrm flipH="1" flipV="1">
                <a:off x="7071011" y="3678624"/>
                <a:ext cx="413447" cy="1074055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直接连接符 159"/>
              <p:cNvCxnSpPr>
                <a:stCxn id="192" idx="4"/>
                <a:endCxn id="198" idx="1"/>
              </p:cNvCxnSpPr>
              <p:nvPr/>
            </p:nvCxnSpPr>
            <p:spPr>
              <a:xfrm>
                <a:off x="4676753" y="2881677"/>
                <a:ext cx="845309" cy="296662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直接连接符 160"/>
              <p:cNvCxnSpPr>
                <a:stCxn id="197" idx="5"/>
                <a:endCxn id="198" idx="1"/>
              </p:cNvCxnSpPr>
              <p:nvPr/>
            </p:nvCxnSpPr>
            <p:spPr>
              <a:xfrm>
                <a:off x="4294306" y="3707469"/>
                <a:ext cx="1227756" cy="2140836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直接连接符 161"/>
              <p:cNvCxnSpPr>
                <a:stCxn id="184" idx="5"/>
                <a:endCxn id="196" idx="1"/>
              </p:cNvCxnSpPr>
              <p:nvPr/>
            </p:nvCxnSpPr>
            <p:spPr>
              <a:xfrm>
                <a:off x="2494504" y="3761893"/>
                <a:ext cx="1006882" cy="1262023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直接连接符 162"/>
              <p:cNvCxnSpPr>
                <a:stCxn id="196" idx="7"/>
                <a:endCxn id="197" idx="2"/>
              </p:cNvCxnSpPr>
              <p:nvPr/>
            </p:nvCxnSpPr>
            <p:spPr>
              <a:xfrm flipV="1">
                <a:off x="3552298" y="3682013"/>
                <a:ext cx="680552" cy="1341903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直接连接符 163"/>
              <p:cNvCxnSpPr>
                <a:stCxn id="196" idx="0"/>
                <a:endCxn id="193" idx="4"/>
              </p:cNvCxnSpPr>
              <p:nvPr/>
            </p:nvCxnSpPr>
            <p:spPr>
              <a:xfrm flipH="1" flipV="1">
                <a:off x="3317968" y="2581627"/>
                <a:ext cx="208874" cy="2431745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5" name="直接连接符 164"/>
              <p:cNvCxnSpPr>
                <a:stCxn id="193" idx="1"/>
                <a:endCxn id="180" idx="4"/>
              </p:cNvCxnSpPr>
              <p:nvPr/>
            </p:nvCxnSpPr>
            <p:spPr>
              <a:xfrm flipH="1" flipV="1">
                <a:off x="3245968" y="1921650"/>
                <a:ext cx="46544" cy="598521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直接连接符 165"/>
              <p:cNvCxnSpPr>
                <a:stCxn id="187" idx="0"/>
                <a:endCxn id="199" idx="4"/>
              </p:cNvCxnSpPr>
              <p:nvPr/>
            </p:nvCxnSpPr>
            <p:spPr>
              <a:xfrm flipV="1">
                <a:off x="6960914" y="3689168"/>
                <a:ext cx="84641" cy="1889941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7" name="直接连接符 166"/>
              <p:cNvCxnSpPr>
                <a:stCxn id="199" idx="3"/>
                <a:endCxn id="198" idx="7"/>
              </p:cNvCxnSpPr>
              <p:nvPr/>
            </p:nvCxnSpPr>
            <p:spPr>
              <a:xfrm flipH="1">
                <a:off x="5572974" y="3678624"/>
                <a:ext cx="1447125" cy="2169681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直接连接符 167"/>
              <p:cNvCxnSpPr>
                <a:stCxn id="198" idx="6"/>
                <a:endCxn id="187" idx="2"/>
              </p:cNvCxnSpPr>
              <p:nvPr/>
            </p:nvCxnSpPr>
            <p:spPr>
              <a:xfrm flipV="1">
                <a:off x="5583518" y="5615109"/>
                <a:ext cx="1341396" cy="25865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直接连接符 168"/>
              <p:cNvCxnSpPr>
                <a:stCxn id="198" idx="5"/>
                <a:endCxn id="190" idx="1"/>
              </p:cNvCxnSpPr>
              <p:nvPr/>
            </p:nvCxnSpPr>
            <p:spPr>
              <a:xfrm>
                <a:off x="5572974" y="5899217"/>
                <a:ext cx="527898" cy="244415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直接连接符 169"/>
              <p:cNvCxnSpPr>
                <a:stCxn id="197" idx="0"/>
                <a:endCxn id="192" idx="3"/>
              </p:cNvCxnSpPr>
              <p:nvPr/>
            </p:nvCxnSpPr>
            <p:spPr>
              <a:xfrm flipV="1">
                <a:off x="4268850" y="2871133"/>
                <a:ext cx="382447" cy="774880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直接连接符 170"/>
              <p:cNvCxnSpPr>
                <a:stCxn id="196" idx="6"/>
                <a:endCxn id="198" idx="2"/>
              </p:cNvCxnSpPr>
              <p:nvPr/>
            </p:nvCxnSpPr>
            <p:spPr>
              <a:xfrm>
                <a:off x="3562842" y="5049372"/>
                <a:ext cx="1948676" cy="824389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直接连接符 171"/>
              <p:cNvCxnSpPr>
                <a:stCxn id="185" idx="6"/>
                <a:endCxn id="196" idx="2"/>
              </p:cNvCxnSpPr>
              <p:nvPr/>
            </p:nvCxnSpPr>
            <p:spPr>
              <a:xfrm>
                <a:off x="2723516" y="4804810"/>
                <a:ext cx="767326" cy="24456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直接连接符 172"/>
              <p:cNvCxnSpPr>
                <a:stCxn id="188" idx="7"/>
                <a:endCxn id="196" idx="3"/>
              </p:cNvCxnSpPr>
              <p:nvPr/>
            </p:nvCxnSpPr>
            <p:spPr>
              <a:xfrm flipV="1">
                <a:off x="3271424" y="5074828"/>
                <a:ext cx="229962" cy="51057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直接连接符 173"/>
              <p:cNvCxnSpPr>
                <a:stCxn id="189" idx="0"/>
                <a:endCxn id="196" idx="5"/>
              </p:cNvCxnSpPr>
              <p:nvPr/>
            </p:nvCxnSpPr>
            <p:spPr>
              <a:xfrm flipH="1" flipV="1">
                <a:off x="3552298" y="5074828"/>
                <a:ext cx="539139" cy="1058756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直接连接符 174"/>
              <p:cNvCxnSpPr>
                <a:stCxn id="189" idx="7"/>
                <a:endCxn id="198" idx="2"/>
              </p:cNvCxnSpPr>
              <p:nvPr/>
            </p:nvCxnSpPr>
            <p:spPr>
              <a:xfrm flipV="1">
                <a:off x="4116893" y="5873761"/>
                <a:ext cx="1394625" cy="270367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00" name="组合 199"/>
          <p:cNvGrpSpPr/>
          <p:nvPr/>
        </p:nvGrpSpPr>
        <p:grpSpPr>
          <a:xfrm>
            <a:off x="5594099" y="3028295"/>
            <a:ext cx="1253759" cy="1252582"/>
            <a:chOff x="6309221" y="788029"/>
            <a:chExt cx="2825105" cy="2822453"/>
          </a:xfrm>
        </p:grpSpPr>
        <p:sp>
          <p:nvSpPr>
            <p:cNvPr id="201" name="椭圆 200"/>
            <p:cNvSpPr/>
            <p:nvPr/>
          </p:nvSpPr>
          <p:spPr>
            <a:xfrm>
              <a:off x="6461555" y="939037"/>
              <a:ext cx="2520437" cy="2520437"/>
            </a:xfrm>
            <a:prstGeom prst="ellipse">
              <a:avLst/>
            </a:prstGeom>
            <a:solidFill>
              <a:srgbClr val="663B4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  <p:grpSp>
          <p:nvGrpSpPr>
            <p:cNvPr id="202" name="组合 201"/>
            <p:cNvGrpSpPr/>
            <p:nvPr/>
          </p:nvGrpSpPr>
          <p:grpSpPr>
            <a:xfrm>
              <a:off x="6309221" y="788029"/>
              <a:ext cx="2825105" cy="2822453"/>
              <a:chOff x="2433048" y="1083945"/>
              <a:chExt cx="5333787" cy="5328780"/>
            </a:xfrm>
          </p:grpSpPr>
          <p:sp>
            <p:nvSpPr>
              <p:cNvPr id="203" name="十六角星 202"/>
              <p:cNvSpPr/>
              <p:nvPr/>
            </p:nvSpPr>
            <p:spPr>
              <a:xfrm>
                <a:off x="2470676" y="1127265"/>
                <a:ext cx="5254344" cy="5254344"/>
              </a:xfrm>
              <a:prstGeom prst="star16">
                <a:avLst>
                  <a:gd name="adj" fmla="val 49459"/>
                </a:avLst>
              </a:prstGeom>
              <a:noFill/>
              <a:ln w="6350">
                <a:solidFill>
                  <a:srgbClr val="9D819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grpSp>
            <p:nvGrpSpPr>
              <p:cNvPr id="204" name="组合 203"/>
              <p:cNvGrpSpPr/>
              <p:nvPr/>
            </p:nvGrpSpPr>
            <p:grpSpPr>
              <a:xfrm>
                <a:off x="2433048" y="1083945"/>
                <a:ext cx="5333787" cy="5328780"/>
                <a:chOff x="2280648" y="931545"/>
                <a:chExt cx="5333787" cy="5328780"/>
              </a:xfrm>
            </p:grpSpPr>
            <p:sp>
              <p:nvSpPr>
                <p:cNvPr id="241" name="椭圆 240"/>
                <p:cNvSpPr/>
                <p:nvPr/>
              </p:nvSpPr>
              <p:spPr>
                <a:xfrm>
                  <a:off x="3903037" y="1131665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242" name="椭圆 241"/>
                <p:cNvSpPr/>
                <p:nvPr/>
              </p:nvSpPr>
              <p:spPr>
                <a:xfrm>
                  <a:off x="4916848" y="931545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243" name="椭圆 242"/>
                <p:cNvSpPr/>
                <p:nvPr/>
              </p:nvSpPr>
              <p:spPr>
                <a:xfrm>
                  <a:off x="5937928" y="1131169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244" name="椭圆 243"/>
                <p:cNvSpPr/>
                <p:nvPr/>
              </p:nvSpPr>
              <p:spPr>
                <a:xfrm>
                  <a:off x="6763087" y="170149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245" name="椭圆 244"/>
                <p:cNvSpPr/>
                <p:nvPr/>
              </p:nvSpPr>
              <p:spPr>
                <a:xfrm>
                  <a:off x="3057568" y="1697250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246" name="椭圆 245"/>
                <p:cNvSpPr/>
                <p:nvPr/>
              </p:nvSpPr>
              <p:spPr>
                <a:xfrm>
                  <a:off x="2481128" y="2556341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247" name="椭圆 246"/>
                <p:cNvSpPr/>
                <p:nvPr/>
              </p:nvSpPr>
              <p:spPr>
                <a:xfrm>
                  <a:off x="7344374" y="2556341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248" name="椭圆 247"/>
                <p:cNvSpPr/>
                <p:nvPr/>
              </p:nvSpPr>
              <p:spPr>
                <a:xfrm>
                  <a:off x="7542435" y="354803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249" name="椭圆 248"/>
                <p:cNvSpPr/>
                <p:nvPr/>
              </p:nvSpPr>
              <p:spPr>
                <a:xfrm>
                  <a:off x="2280648" y="354803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250" name="椭圆 249"/>
                <p:cNvSpPr/>
                <p:nvPr/>
              </p:nvSpPr>
              <p:spPr>
                <a:xfrm>
                  <a:off x="2499116" y="4616410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251" name="椭圆 250"/>
                <p:cNvSpPr/>
                <p:nvPr/>
              </p:nvSpPr>
              <p:spPr>
                <a:xfrm>
                  <a:off x="7321514" y="4589735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252" name="椭圆 251"/>
                <p:cNvSpPr/>
                <p:nvPr/>
              </p:nvSpPr>
              <p:spPr>
                <a:xfrm>
                  <a:off x="6772514" y="5426709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253" name="椭圆 252"/>
                <p:cNvSpPr/>
                <p:nvPr/>
              </p:nvSpPr>
              <p:spPr>
                <a:xfrm>
                  <a:off x="3057568" y="5422462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254" name="椭圆 253"/>
                <p:cNvSpPr/>
                <p:nvPr/>
              </p:nvSpPr>
              <p:spPr>
                <a:xfrm>
                  <a:off x="3903037" y="5981184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255" name="椭圆 254"/>
                <p:cNvSpPr/>
                <p:nvPr/>
              </p:nvSpPr>
              <p:spPr>
                <a:xfrm>
                  <a:off x="5937928" y="5980688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256" name="椭圆 255"/>
                <p:cNvSpPr/>
                <p:nvPr/>
              </p:nvSpPr>
              <p:spPr>
                <a:xfrm>
                  <a:off x="4916848" y="6188325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257" name="椭圆 256"/>
                <p:cNvSpPr/>
                <p:nvPr/>
              </p:nvSpPr>
              <p:spPr>
                <a:xfrm>
                  <a:off x="4488353" y="265727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258" name="椭圆 257"/>
                <p:cNvSpPr/>
                <p:nvPr/>
              </p:nvSpPr>
              <p:spPr>
                <a:xfrm>
                  <a:off x="3129568" y="235722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259" name="椭圆 258"/>
                <p:cNvSpPr/>
                <p:nvPr/>
              </p:nvSpPr>
              <p:spPr>
                <a:xfrm>
                  <a:off x="6107323" y="257222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260" name="椭圆 259"/>
                <p:cNvSpPr/>
                <p:nvPr/>
              </p:nvSpPr>
              <p:spPr>
                <a:xfrm>
                  <a:off x="5431118" y="1544823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261" name="椭圆 260"/>
                <p:cNvSpPr/>
                <p:nvPr/>
              </p:nvSpPr>
              <p:spPr>
                <a:xfrm>
                  <a:off x="3338442" y="4860972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262" name="椭圆 261"/>
                <p:cNvSpPr/>
                <p:nvPr/>
              </p:nvSpPr>
              <p:spPr>
                <a:xfrm>
                  <a:off x="4080450" y="3493613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263" name="椭圆 262"/>
                <p:cNvSpPr/>
                <p:nvPr/>
              </p:nvSpPr>
              <p:spPr>
                <a:xfrm>
                  <a:off x="5359118" y="5685361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264" name="椭圆 263"/>
                <p:cNvSpPr/>
                <p:nvPr/>
              </p:nvSpPr>
              <p:spPr>
                <a:xfrm>
                  <a:off x="6857155" y="3464768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</p:grpSp>
          <p:cxnSp>
            <p:nvCxnSpPr>
              <p:cNvPr id="205" name="直接连接符 204"/>
              <p:cNvCxnSpPr>
                <a:stCxn id="242" idx="4"/>
                <a:endCxn id="260" idx="0"/>
              </p:cNvCxnSpPr>
              <p:nvPr/>
            </p:nvCxnSpPr>
            <p:spPr>
              <a:xfrm>
                <a:off x="5105248" y="1155945"/>
                <a:ext cx="514270" cy="54127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6" name="直接连接符 205"/>
              <p:cNvCxnSpPr>
                <a:stCxn id="241" idx="5"/>
                <a:endCxn id="260" idx="2"/>
              </p:cNvCxnSpPr>
              <p:nvPr/>
            </p:nvCxnSpPr>
            <p:spPr>
              <a:xfrm>
                <a:off x="4116893" y="1345521"/>
                <a:ext cx="1466625" cy="38770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7" name="直接连接符 206"/>
              <p:cNvCxnSpPr>
                <a:stCxn id="258" idx="0"/>
                <a:endCxn id="241" idx="4"/>
              </p:cNvCxnSpPr>
              <p:nvPr/>
            </p:nvCxnSpPr>
            <p:spPr>
              <a:xfrm flipV="1">
                <a:off x="3317968" y="1356065"/>
                <a:ext cx="773469" cy="115356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8" name="直接连接符 207"/>
              <p:cNvCxnSpPr>
                <a:stCxn id="263" idx="3"/>
                <a:endCxn id="256" idx="0"/>
              </p:cNvCxnSpPr>
              <p:nvPr/>
            </p:nvCxnSpPr>
            <p:spPr>
              <a:xfrm flipH="1">
                <a:off x="5105248" y="5899217"/>
                <a:ext cx="416814" cy="44150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9" name="直接连接符 208"/>
              <p:cNvCxnSpPr>
                <a:stCxn id="246" idx="6"/>
              </p:cNvCxnSpPr>
              <p:nvPr/>
            </p:nvCxnSpPr>
            <p:spPr>
              <a:xfrm flipV="1">
                <a:off x="2705528" y="2545627"/>
                <a:ext cx="576440" cy="199114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0" name="直接连接符 209"/>
              <p:cNvCxnSpPr>
                <a:stCxn id="258" idx="6"/>
                <a:endCxn id="257" idx="2"/>
              </p:cNvCxnSpPr>
              <p:nvPr/>
            </p:nvCxnSpPr>
            <p:spPr>
              <a:xfrm>
                <a:off x="3353968" y="2545627"/>
                <a:ext cx="1286785" cy="300050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1" name="直接连接符 210"/>
              <p:cNvCxnSpPr>
                <a:stCxn id="257" idx="0"/>
                <a:endCxn id="260" idx="4"/>
              </p:cNvCxnSpPr>
              <p:nvPr/>
            </p:nvCxnSpPr>
            <p:spPr>
              <a:xfrm flipV="1">
                <a:off x="4676753" y="1769223"/>
                <a:ext cx="942765" cy="1040454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2" name="直接连接符 211"/>
              <p:cNvCxnSpPr>
                <a:stCxn id="249" idx="7"/>
                <a:endCxn id="258" idx="3"/>
              </p:cNvCxnSpPr>
              <p:nvPr/>
            </p:nvCxnSpPr>
            <p:spPr>
              <a:xfrm flipV="1">
                <a:off x="2494504" y="2571083"/>
                <a:ext cx="798008" cy="113989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3" name="直接连接符 212"/>
              <p:cNvCxnSpPr>
                <a:stCxn id="258" idx="5"/>
                <a:endCxn id="262" idx="1"/>
              </p:cNvCxnSpPr>
              <p:nvPr/>
            </p:nvCxnSpPr>
            <p:spPr>
              <a:xfrm>
                <a:off x="3343424" y="2571083"/>
                <a:ext cx="899970" cy="1085474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4" name="直接连接符 213"/>
              <p:cNvCxnSpPr>
                <a:stCxn id="260" idx="7"/>
                <a:endCxn id="243" idx="3"/>
              </p:cNvCxnSpPr>
              <p:nvPr/>
            </p:nvCxnSpPr>
            <p:spPr>
              <a:xfrm flipV="1">
                <a:off x="5644974" y="1345025"/>
                <a:ext cx="455898" cy="36274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5" name="直接连接符 214"/>
              <p:cNvCxnSpPr>
                <a:stCxn id="260" idx="6"/>
                <a:endCxn id="244" idx="2"/>
              </p:cNvCxnSpPr>
              <p:nvPr/>
            </p:nvCxnSpPr>
            <p:spPr>
              <a:xfrm>
                <a:off x="5655518" y="1733223"/>
                <a:ext cx="1259969" cy="156674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6" name="直接连接符 215"/>
              <p:cNvCxnSpPr>
                <a:stCxn id="258" idx="7"/>
                <a:endCxn id="260" idx="3"/>
              </p:cNvCxnSpPr>
              <p:nvPr/>
            </p:nvCxnSpPr>
            <p:spPr>
              <a:xfrm flipV="1">
                <a:off x="3343424" y="1758679"/>
                <a:ext cx="2250638" cy="76149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7" name="直接连接符 216"/>
              <p:cNvCxnSpPr>
                <a:stCxn id="260" idx="5"/>
                <a:endCxn id="259" idx="1"/>
              </p:cNvCxnSpPr>
              <p:nvPr/>
            </p:nvCxnSpPr>
            <p:spPr>
              <a:xfrm>
                <a:off x="5644974" y="1758679"/>
                <a:ext cx="625293" cy="97649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8" name="直接连接符 217"/>
              <p:cNvCxnSpPr>
                <a:stCxn id="257" idx="6"/>
                <a:endCxn id="259" idx="2"/>
              </p:cNvCxnSpPr>
              <p:nvPr/>
            </p:nvCxnSpPr>
            <p:spPr>
              <a:xfrm flipV="1">
                <a:off x="4712753" y="2760627"/>
                <a:ext cx="1546970" cy="85050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9" name="直接连接符 218"/>
              <p:cNvCxnSpPr>
                <a:stCxn id="259" idx="3"/>
                <a:endCxn id="263" idx="0"/>
              </p:cNvCxnSpPr>
              <p:nvPr/>
            </p:nvCxnSpPr>
            <p:spPr>
              <a:xfrm flipH="1">
                <a:off x="5547518" y="2786083"/>
                <a:ext cx="722749" cy="305167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0" name="直接连接符 219"/>
              <p:cNvCxnSpPr>
                <a:stCxn id="259" idx="0"/>
                <a:endCxn id="244" idx="3"/>
              </p:cNvCxnSpPr>
              <p:nvPr/>
            </p:nvCxnSpPr>
            <p:spPr>
              <a:xfrm flipV="1">
                <a:off x="6295723" y="1915353"/>
                <a:ext cx="630308" cy="809274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1" name="直接连接符 220"/>
              <p:cNvCxnSpPr>
                <a:stCxn id="259" idx="5"/>
                <a:endCxn id="264" idx="1"/>
              </p:cNvCxnSpPr>
              <p:nvPr/>
            </p:nvCxnSpPr>
            <p:spPr>
              <a:xfrm>
                <a:off x="6321179" y="2786083"/>
                <a:ext cx="698920" cy="841629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2" name="直接连接符 221"/>
              <p:cNvCxnSpPr>
                <a:stCxn id="264" idx="0"/>
                <a:endCxn id="244" idx="4"/>
              </p:cNvCxnSpPr>
              <p:nvPr/>
            </p:nvCxnSpPr>
            <p:spPr>
              <a:xfrm flipH="1" flipV="1">
                <a:off x="6951487" y="1925897"/>
                <a:ext cx="94068" cy="1691271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3" name="直接连接符 222"/>
              <p:cNvCxnSpPr>
                <a:stCxn id="264" idx="7"/>
                <a:endCxn id="247" idx="3"/>
              </p:cNvCxnSpPr>
              <p:nvPr/>
            </p:nvCxnSpPr>
            <p:spPr>
              <a:xfrm flipV="1">
                <a:off x="7071011" y="2770197"/>
                <a:ext cx="436307" cy="857515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4" name="直接连接符 223"/>
              <p:cNvCxnSpPr>
                <a:stCxn id="251" idx="1"/>
                <a:endCxn id="264" idx="5"/>
              </p:cNvCxnSpPr>
              <p:nvPr/>
            </p:nvCxnSpPr>
            <p:spPr>
              <a:xfrm flipH="1" flipV="1">
                <a:off x="7071011" y="3678624"/>
                <a:ext cx="413447" cy="1074055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5" name="直接连接符 224"/>
              <p:cNvCxnSpPr>
                <a:stCxn id="257" idx="4"/>
                <a:endCxn id="263" idx="1"/>
              </p:cNvCxnSpPr>
              <p:nvPr/>
            </p:nvCxnSpPr>
            <p:spPr>
              <a:xfrm>
                <a:off x="4676753" y="2881677"/>
                <a:ext cx="845309" cy="296662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6" name="直接连接符 225"/>
              <p:cNvCxnSpPr>
                <a:stCxn id="262" idx="5"/>
                <a:endCxn id="263" idx="1"/>
              </p:cNvCxnSpPr>
              <p:nvPr/>
            </p:nvCxnSpPr>
            <p:spPr>
              <a:xfrm>
                <a:off x="4294306" y="3707469"/>
                <a:ext cx="1227756" cy="2140836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7" name="直接连接符 226"/>
              <p:cNvCxnSpPr>
                <a:stCxn id="249" idx="5"/>
                <a:endCxn id="261" idx="1"/>
              </p:cNvCxnSpPr>
              <p:nvPr/>
            </p:nvCxnSpPr>
            <p:spPr>
              <a:xfrm>
                <a:off x="2494504" y="3761893"/>
                <a:ext cx="1006882" cy="1262023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8" name="直接连接符 227"/>
              <p:cNvCxnSpPr>
                <a:stCxn id="261" idx="7"/>
                <a:endCxn id="262" idx="2"/>
              </p:cNvCxnSpPr>
              <p:nvPr/>
            </p:nvCxnSpPr>
            <p:spPr>
              <a:xfrm flipV="1">
                <a:off x="3552298" y="3682013"/>
                <a:ext cx="680552" cy="1341903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9" name="直接连接符 228"/>
              <p:cNvCxnSpPr>
                <a:stCxn id="261" idx="0"/>
                <a:endCxn id="258" idx="4"/>
              </p:cNvCxnSpPr>
              <p:nvPr/>
            </p:nvCxnSpPr>
            <p:spPr>
              <a:xfrm flipH="1" flipV="1">
                <a:off x="3317968" y="2581627"/>
                <a:ext cx="208874" cy="2431745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0" name="直接连接符 229"/>
              <p:cNvCxnSpPr>
                <a:stCxn id="258" idx="1"/>
                <a:endCxn id="245" idx="4"/>
              </p:cNvCxnSpPr>
              <p:nvPr/>
            </p:nvCxnSpPr>
            <p:spPr>
              <a:xfrm flipH="1" flipV="1">
                <a:off x="3245968" y="1921650"/>
                <a:ext cx="46544" cy="598521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1" name="直接连接符 230"/>
              <p:cNvCxnSpPr>
                <a:stCxn id="252" idx="0"/>
                <a:endCxn id="264" idx="4"/>
              </p:cNvCxnSpPr>
              <p:nvPr/>
            </p:nvCxnSpPr>
            <p:spPr>
              <a:xfrm flipV="1">
                <a:off x="6960914" y="3689168"/>
                <a:ext cx="84641" cy="1889941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2" name="直接连接符 231"/>
              <p:cNvCxnSpPr>
                <a:stCxn id="264" idx="3"/>
                <a:endCxn id="263" idx="7"/>
              </p:cNvCxnSpPr>
              <p:nvPr/>
            </p:nvCxnSpPr>
            <p:spPr>
              <a:xfrm flipH="1">
                <a:off x="5572974" y="3678624"/>
                <a:ext cx="1447125" cy="2169681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3" name="直接连接符 232"/>
              <p:cNvCxnSpPr>
                <a:stCxn id="263" idx="6"/>
                <a:endCxn id="252" idx="2"/>
              </p:cNvCxnSpPr>
              <p:nvPr/>
            </p:nvCxnSpPr>
            <p:spPr>
              <a:xfrm flipV="1">
                <a:off x="5583518" y="5615109"/>
                <a:ext cx="1341396" cy="25865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4" name="直接连接符 233"/>
              <p:cNvCxnSpPr>
                <a:stCxn id="263" idx="5"/>
                <a:endCxn id="255" idx="1"/>
              </p:cNvCxnSpPr>
              <p:nvPr/>
            </p:nvCxnSpPr>
            <p:spPr>
              <a:xfrm>
                <a:off x="5572974" y="5899217"/>
                <a:ext cx="527898" cy="244415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5" name="直接连接符 234"/>
              <p:cNvCxnSpPr>
                <a:stCxn id="262" idx="0"/>
                <a:endCxn id="257" idx="3"/>
              </p:cNvCxnSpPr>
              <p:nvPr/>
            </p:nvCxnSpPr>
            <p:spPr>
              <a:xfrm flipV="1">
                <a:off x="4268850" y="2871133"/>
                <a:ext cx="382447" cy="774880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6" name="直接连接符 235"/>
              <p:cNvCxnSpPr>
                <a:stCxn id="261" idx="6"/>
                <a:endCxn id="263" idx="2"/>
              </p:cNvCxnSpPr>
              <p:nvPr/>
            </p:nvCxnSpPr>
            <p:spPr>
              <a:xfrm>
                <a:off x="3562842" y="5049372"/>
                <a:ext cx="1948676" cy="824389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7" name="直接连接符 236"/>
              <p:cNvCxnSpPr>
                <a:stCxn id="250" idx="6"/>
                <a:endCxn id="261" idx="2"/>
              </p:cNvCxnSpPr>
              <p:nvPr/>
            </p:nvCxnSpPr>
            <p:spPr>
              <a:xfrm>
                <a:off x="2723516" y="4804810"/>
                <a:ext cx="767326" cy="24456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8" name="直接连接符 237"/>
              <p:cNvCxnSpPr>
                <a:stCxn id="253" idx="7"/>
                <a:endCxn id="261" idx="3"/>
              </p:cNvCxnSpPr>
              <p:nvPr/>
            </p:nvCxnSpPr>
            <p:spPr>
              <a:xfrm flipV="1">
                <a:off x="3271424" y="5074828"/>
                <a:ext cx="229962" cy="51057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9" name="直接连接符 238"/>
              <p:cNvCxnSpPr>
                <a:stCxn id="254" idx="0"/>
                <a:endCxn id="261" idx="5"/>
              </p:cNvCxnSpPr>
              <p:nvPr/>
            </p:nvCxnSpPr>
            <p:spPr>
              <a:xfrm flipH="1" flipV="1">
                <a:off x="3552298" y="5074828"/>
                <a:ext cx="539139" cy="1058756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0" name="直接连接符 239"/>
              <p:cNvCxnSpPr>
                <a:stCxn id="254" idx="7"/>
                <a:endCxn id="263" idx="2"/>
              </p:cNvCxnSpPr>
              <p:nvPr/>
            </p:nvCxnSpPr>
            <p:spPr>
              <a:xfrm flipV="1">
                <a:off x="4116893" y="5873761"/>
                <a:ext cx="1394625" cy="270367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65" name="文本框 264"/>
          <p:cNvSpPr txBox="1"/>
          <p:nvPr/>
        </p:nvSpPr>
        <p:spPr>
          <a:xfrm>
            <a:off x="7273220" y="2317023"/>
            <a:ext cx="1667104" cy="4589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1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结构概述</a:t>
            </a:r>
            <a:endParaRPr lang="en-US" altLang="zh-CN" sz="7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66" name="文本框 265"/>
          <p:cNvSpPr txBox="1"/>
          <p:nvPr/>
        </p:nvSpPr>
        <p:spPr>
          <a:xfrm>
            <a:off x="5221191" y="4336013"/>
            <a:ext cx="1999576" cy="4589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1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系统框架</a:t>
            </a:r>
            <a:endParaRPr lang="en-US" altLang="zh-CN" sz="7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67" name="文本框 266"/>
          <p:cNvSpPr txBox="1"/>
          <p:nvPr/>
        </p:nvSpPr>
        <p:spPr>
          <a:xfrm>
            <a:off x="1034194" y="2169874"/>
            <a:ext cx="2213281" cy="662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2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ONTENTS</a:t>
            </a:r>
          </a:p>
        </p:txBody>
      </p:sp>
      <p:sp>
        <p:nvSpPr>
          <p:cNvPr id="268" name="文本框 267"/>
          <p:cNvSpPr txBox="1"/>
          <p:nvPr/>
        </p:nvSpPr>
        <p:spPr>
          <a:xfrm>
            <a:off x="5029794" y="820994"/>
            <a:ext cx="662711" cy="715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2700" b="1" dirty="0">
                <a:solidFill>
                  <a:schemeClr val="bg1"/>
                </a:solidFill>
                <a:latin typeface="方正兰亭粗黑简体" panose="02000000000000000000" pitchFamily="2" charset="-122"/>
                <a:ea typeface="方正兰亭粗黑简体" panose="02000000000000000000" pitchFamily="2" charset="-122"/>
              </a:rPr>
              <a:t>01</a:t>
            </a:r>
            <a:endParaRPr lang="en-US" altLang="zh-CN" sz="1800" b="1" dirty="0">
              <a:solidFill>
                <a:schemeClr val="bg1"/>
              </a:solidFill>
              <a:latin typeface="方正兰亭粗黑简体" panose="02000000000000000000" pitchFamily="2" charset="-122"/>
              <a:ea typeface="方正兰亭粗黑简体" panose="02000000000000000000" pitchFamily="2" charset="-122"/>
            </a:endParaRPr>
          </a:p>
        </p:txBody>
      </p:sp>
      <p:sp>
        <p:nvSpPr>
          <p:cNvPr id="269" name="文本框 268"/>
          <p:cNvSpPr txBox="1"/>
          <p:nvPr/>
        </p:nvSpPr>
        <p:spPr>
          <a:xfrm>
            <a:off x="5874449" y="3338488"/>
            <a:ext cx="69305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2400" b="1" dirty="0">
                <a:solidFill>
                  <a:schemeClr val="bg1"/>
                </a:solidFill>
                <a:latin typeface="方正兰亭粗黑简体" panose="02000000000000000000" pitchFamily="2" charset="-122"/>
                <a:ea typeface="方正兰亭粗黑简体" panose="02000000000000000000" pitchFamily="2" charset="-122"/>
              </a:rPr>
              <a:t>02</a:t>
            </a:r>
            <a:endParaRPr lang="en-US" altLang="zh-CN" sz="1500" b="1" dirty="0">
              <a:solidFill>
                <a:schemeClr val="bg1"/>
              </a:solidFill>
              <a:latin typeface="方正兰亭粗黑简体" panose="02000000000000000000" pitchFamily="2" charset="-122"/>
              <a:ea typeface="方正兰亭粗黑简体" panose="02000000000000000000" pitchFamily="2" charset="-122"/>
            </a:endParaRPr>
          </a:p>
        </p:txBody>
      </p:sp>
      <p:sp>
        <p:nvSpPr>
          <p:cNvPr id="270" name="文本框 269"/>
          <p:cNvSpPr txBox="1"/>
          <p:nvPr/>
        </p:nvSpPr>
        <p:spPr>
          <a:xfrm>
            <a:off x="7763699" y="1440537"/>
            <a:ext cx="693057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2100" b="1" dirty="0">
                <a:solidFill>
                  <a:schemeClr val="bg1"/>
                </a:solidFill>
                <a:latin typeface="方正兰亭粗黑简体" panose="02000000000000000000" pitchFamily="2" charset="-122"/>
                <a:ea typeface="方正兰亭粗黑简体" panose="02000000000000000000" pitchFamily="2" charset="-122"/>
              </a:rPr>
              <a:t>03</a:t>
            </a:r>
            <a:endParaRPr lang="en-US" altLang="zh-CN" sz="1013" b="1" dirty="0">
              <a:solidFill>
                <a:schemeClr val="bg1"/>
              </a:solidFill>
              <a:latin typeface="方正兰亭粗黑简体" panose="02000000000000000000" pitchFamily="2" charset="-122"/>
              <a:ea typeface="方正兰亭粗黑简体" panose="02000000000000000000" pitchFamily="2" charset="-122"/>
            </a:endParaRPr>
          </a:p>
        </p:txBody>
      </p:sp>
      <p:sp>
        <p:nvSpPr>
          <p:cNvPr id="271" name="弧形 270"/>
          <p:cNvSpPr/>
          <p:nvPr/>
        </p:nvSpPr>
        <p:spPr>
          <a:xfrm rot="20705087">
            <a:off x="4422022" y="1060491"/>
            <a:ext cx="1906728" cy="356807"/>
          </a:xfrm>
          <a:prstGeom prst="arc">
            <a:avLst>
              <a:gd name="adj1" fmla="val 20946925"/>
              <a:gd name="adj2" fmla="val 11464655"/>
            </a:avLst>
          </a:prstGeom>
          <a:ln w="19050">
            <a:solidFill>
              <a:srgbClr val="9D81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 sz="1013"/>
          </a:p>
        </p:txBody>
      </p:sp>
      <p:sp>
        <p:nvSpPr>
          <p:cNvPr id="272" name="弧形 271"/>
          <p:cNvSpPr/>
          <p:nvPr/>
        </p:nvSpPr>
        <p:spPr>
          <a:xfrm rot="652726">
            <a:off x="5411675" y="3556347"/>
            <a:ext cx="1556657" cy="302144"/>
          </a:xfrm>
          <a:prstGeom prst="arc">
            <a:avLst>
              <a:gd name="adj1" fmla="val 21002540"/>
              <a:gd name="adj2" fmla="val 11484996"/>
            </a:avLst>
          </a:prstGeom>
          <a:ln w="19050">
            <a:solidFill>
              <a:srgbClr val="9D81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 sz="1013"/>
          </a:p>
        </p:txBody>
      </p:sp>
      <p:sp>
        <p:nvSpPr>
          <p:cNvPr id="273" name="弧形 272"/>
          <p:cNvSpPr/>
          <p:nvPr/>
        </p:nvSpPr>
        <p:spPr>
          <a:xfrm rot="161937">
            <a:off x="7399847" y="1627616"/>
            <a:ext cx="1405295" cy="269325"/>
          </a:xfrm>
          <a:prstGeom prst="arc">
            <a:avLst>
              <a:gd name="adj1" fmla="val 20966210"/>
              <a:gd name="adj2" fmla="val 11459770"/>
            </a:avLst>
          </a:prstGeom>
          <a:ln w="19050">
            <a:solidFill>
              <a:srgbClr val="9D81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 sz="1013"/>
          </a:p>
        </p:txBody>
      </p:sp>
    </p:spTree>
    <p:extLst>
      <p:ext uri="{BB962C8B-B14F-4D97-AF65-F5344CB8AC3E}">
        <p14:creationId xmlns:p14="http://schemas.microsoft.com/office/powerpoint/2010/main" val="2836399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 advTm="0">
        <p14:warp dir="in"/>
      </p:transition>
    </mc:Choice>
    <mc:Fallback xmlns="">
      <p:transition spd="slow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30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30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30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8" presetClass="emph" presetSubtype="0" repeatCount="5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11" dur="33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2" presetID="16" presetClass="entr" presetSubtype="37" fill="hold" grpId="0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4" dur="500"/>
                                        <p:tgtEl>
                                          <p:spTgt spid="26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3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3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3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8" presetClass="emph" presetSubtype="0" repeatCount="4000" fill="hold" nodeType="withEffect">
                                  <p:stCondLst>
                                    <p:cond delay="4500"/>
                                  </p:stCondLst>
                                  <p:childTnLst>
                                    <p:animRot by="-21600000">
                                      <p:cBhvr>
                                        <p:cTn id="21" dur="3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2" presetID="16" presetClass="entr" presetSubtype="37" fill="hold" grpId="0" nodeType="withEffect">
                                  <p:stCondLst>
                                    <p:cond delay="60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24" dur="500"/>
                                        <p:tgtEl>
                                          <p:spTgt spid="2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2" presetClass="entr" presetSubtype="2" fill="hold" grpId="0" nodeType="withEffect">
                                  <p:stCondLst>
                                    <p:cond delay="6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7" dur="500"/>
                                        <p:tgtEl>
                                          <p:spTgt spid="2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6" presetClass="entr" presetSubtype="37" fill="hold" grpId="0" nodeType="withEffect">
                                  <p:stCondLst>
                                    <p:cond delay="60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30" dur="500"/>
                                        <p:tgtEl>
                                          <p:spTgt spid="1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53" presetClass="entr" presetSubtype="16" fill="hold" nodeType="withEffect">
                                  <p:stCondLst>
                                    <p:cond delay="75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3" dur="3000" fill="hold"/>
                                        <p:tgtEl>
                                          <p:spTgt spid="20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3000" fill="hold"/>
                                        <p:tgtEl>
                                          <p:spTgt spid="20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5" dur="3000"/>
                                        <p:tgtEl>
                                          <p:spTgt spid="2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8" presetClass="emph" presetSubtype="0" repeatCount="3000" fill="hold" nodeType="withEffect">
                                  <p:stCondLst>
                                    <p:cond delay="7500"/>
                                  </p:stCondLst>
                                  <p:childTnLst>
                                    <p:animRot by="-21600000">
                                      <p:cBhvr>
                                        <p:cTn id="37" dur="3000" fill="hold"/>
                                        <p:tgtEl>
                                          <p:spTgt spid="20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8" presetID="16" presetClass="entr" presetSubtype="37" fill="hold" grpId="0" nodeType="withEffect">
                                  <p:stCondLst>
                                    <p:cond delay="95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40" dur="500"/>
                                        <p:tgtEl>
                                          <p:spTgt spid="2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22" presetClass="entr" presetSubtype="2" fill="hold" grpId="0" nodeType="withEffect">
                                  <p:stCondLst>
                                    <p:cond delay="95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3" dur="500"/>
                                        <p:tgtEl>
                                          <p:spTgt spid="2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6" presetClass="entr" presetSubtype="37" fill="hold" grpId="0" nodeType="withEffect">
                                  <p:stCondLst>
                                    <p:cond delay="105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46" dur="500"/>
                                        <p:tgtEl>
                                          <p:spTgt spid="26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53" presetClass="entr" presetSubtype="16" fill="hold" nodeType="withEffect">
                                  <p:stCondLst>
                                    <p:cond delay="105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300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300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1" dur="3000"/>
                                        <p:tgtEl>
                                          <p:spTgt spid="1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8" presetClass="emph" presetSubtype="0" repeatCount="2000" fill="hold" nodeType="withEffect">
                                  <p:stCondLst>
                                    <p:cond delay="10500"/>
                                  </p:stCondLst>
                                  <p:childTnLst>
                                    <p:animRot by="-21600000">
                                      <p:cBhvr>
                                        <p:cTn id="53" dur="300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54" presetID="16" presetClass="entr" presetSubtype="37" fill="hold" grpId="0" nodeType="withEffect">
                                  <p:stCondLst>
                                    <p:cond delay="125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56" dur="500"/>
                                        <p:tgtEl>
                                          <p:spTgt spid="2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22" presetClass="entr" presetSubtype="2" fill="hold" grpId="0" nodeType="withEffect">
                                  <p:stCondLst>
                                    <p:cond delay="125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9" dur="500"/>
                                        <p:tgtEl>
                                          <p:spTgt spid="2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6" presetClass="entr" presetSubtype="37" fill="hold" grpId="0" nodeType="withEffect">
                                  <p:stCondLst>
                                    <p:cond delay="130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62" dur="500"/>
                                        <p:tgtEl>
                                          <p:spTgt spid="26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4" grpId="0" build="p"/>
      <p:bldP spid="265" grpId="0" build="p"/>
      <p:bldP spid="266" grpId="0" build="p"/>
      <p:bldP spid="267" grpId="0" build="p"/>
      <p:bldP spid="268" grpId="0"/>
      <p:bldP spid="269" grpId="0"/>
      <p:bldP spid="270" grpId="0"/>
      <p:bldP spid="271" grpId="0" animBg="1"/>
      <p:bldP spid="272" grpId="0" animBg="1"/>
      <p:bldP spid="273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合 3"/>
          <p:cNvGrpSpPr/>
          <p:nvPr/>
        </p:nvGrpSpPr>
        <p:grpSpPr>
          <a:xfrm>
            <a:off x="-537" y="1"/>
            <a:ext cx="9215178" cy="5200022"/>
            <a:chOff x="-716" y="-1"/>
            <a:chExt cx="12286904" cy="6933363"/>
          </a:xfrm>
        </p:grpSpPr>
        <p:pic>
          <p:nvPicPr>
            <p:cNvPr id="5" name="图片 4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" y="-1"/>
              <a:ext cx="12269037" cy="6933363"/>
            </a:xfrm>
            <a:prstGeom prst="rect">
              <a:avLst/>
            </a:prstGeom>
          </p:spPr>
        </p:pic>
        <p:pic>
          <p:nvPicPr>
            <p:cNvPr id="6" name="图片 5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716" y="0"/>
              <a:ext cx="12286904" cy="6910571"/>
            </a:xfrm>
            <a:prstGeom prst="rect">
              <a:avLst/>
            </a:prstGeom>
          </p:spPr>
        </p:pic>
      </p:grpSp>
      <p:grpSp>
        <p:nvGrpSpPr>
          <p:cNvPr id="7" name="组合 6"/>
          <p:cNvGrpSpPr/>
          <p:nvPr/>
        </p:nvGrpSpPr>
        <p:grpSpPr>
          <a:xfrm>
            <a:off x="1129523" y="3258033"/>
            <a:ext cx="1181727" cy="1180618"/>
            <a:chOff x="1308745" y="2394284"/>
            <a:chExt cx="2326780" cy="2324596"/>
          </a:xfrm>
        </p:grpSpPr>
        <p:pic>
          <p:nvPicPr>
            <p:cNvPr id="8" name="图片 7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00162" y="2491188"/>
              <a:ext cx="2143001" cy="2140801"/>
            </a:xfrm>
            <a:prstGeom prst="rect">
              <a:avLst/>
            </a:prstGeom>
          </p:spPr>
        </p:pic>
        <p:grpSp>
          <p:nvGrpSpPr>
            <p:cNvPr id="9" name="组合 8"/>
            <p:cNvGrpSpPr/>
            <p:nvPr/>
          </p:nvGrpSpPr>
          <p:grpSpPr>
            <a:xfrm>
              <a:off x="1308745" y="2394284"/>
              <a:ext cx="2326780" cy="2324596"/>
              <a:chOff x="2433048" y="1083945"/>
              <a:chExt cx="5333787" cy="5328780"/>
            </a:xfrm>
          </p:grpSpPr>
          <p:sp>
            <p:nvSpPr>
              <p:cNvPr id="10" name="十六角星 9"/>
              <p:cNvSpPr/>
              <p:nvPr/>
            </p:nvSpPr>
            <p:spPr>
              <a:xfrm>
                <a:off x="2470676" y="1127265"/>
                <a:ext cx="5254344" cy="5254344"/>
              </a:xfrm>
              <a:prstGeom prst="star16">
                <a:avLst>
                  <a:gd name="adj" fmla="val 49459"/>
                </a:avLst>
              </a:prstGeom>
              <a:noFill/>
              <a:ln w="6350">
                <a:solidFill>
                  <a:srgbClr val="9D819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grpSp>
            <p:nvGrpSpPr>
              <p:cNvPr id="11" name="组合 10"/>
              <p:cNvGrpSpPr/>
              <p:nvPr/>
            </p:nvGrpSpPr>
            <p:grpSpPr>
              <a:xfrm>
                <a:off x="2433048" y="1083945"/>
                <a:ext cx="5333787" cy="5328780"/>
                <a:chOff x="2280648" y="931545"/>
                <a:chExt cx="5333787" cy="5328780"/>
              </a:xfrm>
            </p:grpSpPr>
            <p:sp>
              <p:nvSpPr>
                <p:cNvPr id="48" name="椭圆 47"/>
                <p:cNvSpPr/>
                <p:nvPr/>
              </p:nvSpPr>
              <p:spPr>
                <a:xfrm>
                  <a:off x="3903037" y="1131665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49" name="椭圆 48"/>
                <p:cNvSpPr/>
                <p:nvPr/>
              </p:nvSpPr>
              <p:spPr>
                <a:xfrm>
                  <a:off x="4916848" y="931545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50" name="椭圆 49"/>
                <p:cNvSpPr/>
                <p:nvPr/>
              </p:nvSpPr>
              <p:spPr>
                <a:xfrm>
                  <a:off x="5937928" y="1131169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51" name="椭圆 50"/>
                <p:cNvSpPr/>
                <p:nvPr/>
              </p:nvSpPr>
              <p:spPr>
                <a:xfrm>
                  <a:off x="6763087" y="170149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52" name="椭圆 51"/>
                <p:cNvSpPr/>
                <p:nvPr/>
              </p:nvSpPr>
              <p:spPr>
                <a:xfrm>
                  <a:off x="3057568" y="1697250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53" name="椭圆 52"/>
                <p:cNvSpPr/>
                <p:nvPr/>
              </p:nvSpPr>
              <p:spPr>
                <a:xfrm>
                  <a:off x="2481128" y="2556341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54" name="椭圆 53"/>
                <p:cNvSpPr/>
                <p:nvPr/>
              </p:nvSpPr>
              <p:spPr>
                <a:xfrm>
                  <a:off x="7344374" y="2556341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55" name="椭圆 54"/>
                <p:cNvSpPr/>
                <p:nvPr/>
              </p:nvSpPr>
              <p:spPr>
                <a:xfrm>
                  <a:off x="7542435" y="354803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56" name="椭圆 55"/>
                <p:cNvSpPr/>
                <p:nvPr/>
              </p:nvSpPr>
              <p:spPr>
                <a:xfrm>
                  <a:off x="2280648" y="354803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57" name="椭圆 56"/>
                <p:cNvSpPr/>
                <p:nvPr/>
              </p:nvSpPr>
              <p:spPr>
                <a:xfrm>
                  <a:off x="2499116" y="4616410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58" name="椭圆 57"/>
                <p:cNvSpPr/>
                <p:nvPr/>
              </p:nvSpPr>
              <p:spPr>
                <a:xfrm>
                  <a:off x="7321514" y="4589735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59" name="椭圆 58"/>
                <p:cNvSpPr/>
                <p:nvPr/>
              </p:nvSpPr>
              <p:spPr>
                <a:xfrm>
                  <a:off x="6772514" y="5426709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60" name="椭圆 59"/>
                <p:cNvSpPr/>
                <p:nvPr/>
              </p:nvSpPr>
              <p:spPr>
                <a:xfrm>
                  <a:off x="3057568" y="5422462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61" name="椭圆 60"/>
                <p:cNvSpPr/>
                <p:nvPr/>
              </p:nvSpPr>
              <p:spPr>
                <a:xfrm>
                  <a:off x="3903037" y="5981184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62" name="椭圆 61"/>
                <p:cNvSpPr/>
                <p:nvPr/>
              </p:nvSpPr>
              <p:spPr>
                <a:xfrm>
                  <a:off x="5937928" y="5980688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63" name="椭圆 62"/>
                <p:cNvSpPr/>
                <p:nvPr/>
              </p:nvSpPr>
              <p:spPr>
                <a:xfrm>
                  <a:off x="4916848" y="6188325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64" name="椭圆 63"/>
                <p:cNvSpPr/>
                <p:nvPr/>
              </p:nvSpPr>
              <p:spPr>
                <a:xfrm>
                  <a:off x="4488353" y="265727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65" name="椭圆 64"/>
                <p:cNvSpPr/>
                <p:nvPr/>
              </p:nvSpPr>
              <p:spPr>
                <a:xfrm>
                  <a:off x="3129568" y="235722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66" name="椭圆 65"/>
                <p:cNvSpPr/>
                <p:nvPr/>
              </p:nvSpPr>
              <p:spPr>
                <a:xfrm>
                  <a:off x="6107323" y="257222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67" name="椭圆 66"/>
                <p:cNvSpPr/>
                <p:nvPr/>
              </p:nvSpPr>
              <p:spPr>
                <a:xfrm>
                  <a:off x="5431118" y="1544823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68" name="椭圆 67"/>
                <p:cNvSpPr/>
                <p:nvPr/>
              </p:nvSpPr>
              <p:spPr>
                <a:xfrm>
                  <a:off x="3338442" y="4860972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69" name="椭圆 68"/>
                <p:cNvSpPr/>
                <p:nvPr/>
              </p:nvSpPr>
              <p:spPr>
                <a:xfrm>
                  <a:off x="4080450" y="3493613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70" name="椭圆 69"/>
                <p:cNvSpPr/>
                <p:nvPr/>
              </p:nvSpPr>
              <p:spPr>
                <a:xfrm>
                  <a:off x="5359118" y="5685361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71" name="椭圆 70"/>
                <p:cNvSpPr/>
                <p:nvPr/>
              </p:nvSpPr>
              <p:spPr>
                <a:xfrm>
                  <a:off x="6857155" y="3464768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</p:grpSp>
          <p:cxnSp>
            <p:nvCxnSpPr>
              <p:cNvPr id="12" name="直接连接符 11"/>
              <p:cNvCxnSpPr>
                <a:stCxn id="49" idx="4"/>
                <a:endCxn id="67" idx="0"/>
              </p:cNvCxnSpPr>
              <p:nvPr/>
            </p:nvCxnSpPr>
            <p:spPr>
              <a:xfrm>
                <a:off x="5105248" y="1155945"/>
                <a:ext cx="514270" cy="54127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直接连接符 12"/>
              <p:cNvCxnSpPr>
                <a:stCxn id="48" idx="5"/>
                <a:endCxn id="67" idx="2"/>
              </p:cNvCxnSpPr>
              <p:nvPr/>
            </p:nvCxnSpPr>
            <p:spPr>
              <a:xfrm>
                <a:off x="4116893" y="1345521"/>
                <a:ext cx="1466625" cy="38770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直接连接符 13"/>
              <p:cNvCxnSpPr>
                <a:stCxn id="65" idx="0"/>
                <a:endCxn id="48" idx="4"/>
              </p:cNvCxnSpPr>
              <p:nvPr/>
            </p:nvCxnSpPr>
            <p:spPr>
              <a:xfrm flipV="1">
                <a:off x="3317968" y="1356065"/>
                <a:ext cx="773469" cy="115356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直接连接符 14"/>
              <p:cNvCxnSpPr>
                <a:stCxn id="70" idx="3"/>
                <a:endCxn id="63" idx="0"/>
              </p:cNvCxnSpPr>
              <p:nvPr/>
            </p:nvCxnSpPr>
            <p:spPr>
              <a:xfrm flipH="1">
                <a:off x="5105248" y="5899217"/>
                <a:ext cx="416814" cy="44150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直接连接符 15"/>
              <p:cNvCxnSpPr>
                <a:stCxn id="53" idx="6"/>
              </p:cNvCxnSpPr>
              <p:nvPr/>
            </p:nvCxnSpPr>
            <p:spPr>
              <a:xfrm flipV="1">
                <a:off x="2705528" y="2545627"/>
                <a:ext cx="576440" cy="199114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直接连接符 16"/>
              <p:cNvCxnSpPr>
                <a:stCxn id="65" idx="6"/>
                <a:endCxn id="64" idx="2"/>
              </p:cNvCxnSpPr>
              <p:nvPr/>
            </p:nvCxnSpPr>
            <p:spPr>
              <a:xfrm>
                <a:off x="3353968" y="2545627"/>
                <a:ext cx="1286785" cy="300050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直接连接符 17"/>
              <p:cNvCxnSpPr>
                <a:stCxn id="64" idx="0"/>
                <a:endCxn id="67" idx="4"/>
              </p:cNvCxnSpPr>
              <p:nvPr/>
            </p:nvCxnSpPr>
            <p:spPr>
              <a:xfrm flipV="1">
                <a:off x="4676753" y="1769223"/>
                <a:ext cx="942765" cy="1040454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直接连接符 18"/>
              <p:cNvCxnSpPr>
                <a:stCxn id="56" idx="7"/>
                <a:endCxn id="65" idx="3"/>
              </p:cNvCxnSpPr>
              <p:nvPr/>
            </p:nvCxnSpPr>
            <p:spPr>
              <a:xfrm flipV="1">
                <a:off x="2494504" y="2571083"/>
                <a:ext cx="798008" cy="113989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直接连接符 19"/>
              <p:cNvCxnSpPr>
                <a:stCxn id="65" idx="5"/>
                <a:endCxn id="69" idx="1"/>
              </p:cNvCxnSpPr>
              <p:nvPr/>
            </p:nvCxnSpPr>
            <p:spPr>
              <a:xfrm>
                <a:off x="3343424" y="2571083"/>
                <a:ext cx="899970" cy="1085474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直接连接符 20"/>
              <p:cNvCxnSpPr>
                <a:stCxn id="67" idx="7"/>
                <a:endCxn id="50" idx="3"/>
              </p:cNvCxnSpPr>
              <p:nvPr/>
            </p:nvCxnSpPr>
            <p:spPr>
              <a:xfrm flipV="1">
                <a:off x="5644974" y="1345025"/>
                <a:ext cx="455898" cy="36274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直接连接符 21"/>
              <p:cNvCxnSpPr>
                <a:stCxn id="67" idx="6"/>
                <a:endCxn id="51" idx="2"/>
              </p:cNvCxnSpPr>
              <p:nvPr/>
            </p:nvCxnSpPr>
            <p:spPr>
              <a:xfrm>
                <a:off x="5655518" y="1733223"/>
                <a:ext cx="1259969" cy="156674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直接连接符 22"/>
              <p:cNvCxnSpPr>
                <a:stCxn id="65" idx="7"/>
                <a:endCxn id="67" idx="3"/>
              </p:cNvCxnSpPr>
              <p:nvPr/>
            </p:nvCxnSpPr>
            <p:spPr>
              <a:xfrm flipV="1">
                <a:off x="3343424" y="1758679"/>
                <a:ext cx="2250638" cy="76149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直接连接符 23"/>
              <p:cNvCxnSpPr>
                <a:stCxn id="67" idx="5"/>
                <a:endCxn id="66" idx="1"/>
              </p:cNvCxnSpPr>
              <p:nvPr/>
            </p:nvCxnSpPr>
            <p:spPr>
              <a:xfrm>
                <a:off x="5644974" y="1758679"/>
                <a:ext cx="625293" cy="97649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直接连接符 24"/>
              <p:cNvCxnSpPr>
                <a:stCxn id="64" idx="6"/>
                <a:endCxn id="66" idx="2"/>
              </p:cNvCxnSpPr>
              <p:nvPr/>
            </p:nvCxnSpPr>
            <p:spPr>
              <a:xfrm flipV="1">
                <a:off x="4712753" y="2760627"/>
                <a:ext cx="1546970" cy="85050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直接连接符 25"/>
              <p:cNvCxnSpPr>
                <a:stCxn id="66" idx="3"/>
                <a:endCxn id="70" idx="0"/>
              </p:cNvCxnSpPr>
              <p:nvPr/>
            </p:nvCxnSpPr>
            <p:spPr>
              <a:xfrm flipH="1">
                <a:off x="5547518" y="2786083"/>
                <a:ext cx="722749" cy="305167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直接连接符 26"/>
              <p:cNvCxnSpPr>
                <a:stCxn id="66" idx="0"/>
                <a:endCxn id="51" idx="3"/>
              </p:cNvCxnSpPr>
              <p:nvPr/>
            </p:nvCxnSpPr>
            <p:spPr>
              <a:xfrm flipV="1">
                <a:off x="6295723" y="1915353"/>
                <a:ext cx="630308" cy="809274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直接连接符 27"/>
              <p:cNvCxnSpPr>
                <a:stCxn id="66" idx="5"/>
                <a:endCxn id="71" idx="1"/>
              </p:cNvCxnSpPr>
              <p:nvPr/>
            </p:nvCxnSpPr>
            <p:spPr>
              <a:xfrm>
                <a:off x="6321179" y="2786083"/>
                <a:ext cx="698920" cy="841629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直接连接符 28"/>
              <p:cNvCxnSpPr>
                <a:stCxn id="71" idx="0"/>
                <a:endCxn id="51" idx="4"/>
              </p:cNvCxnSpPr>
              <p:nvPr/>
            </p:nvCxnSpPr>
            <p:spPr>
              <a:xfrm flipH="1" flipV="1">
                <a:off x="6951487" y="1925897"/>
                <a:ext cx="94068" cy="1691271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直接连接符 29"/>
              <p:cNvCxnSpPr>
                <a:stCxn id="71" idx="7"/>
                <a:endCxn id="54" idx="3"/>
              </p:cNvCxnSpPr>
              <p:nvPr/>
            </p:nvCxnSpPr>
            <p:spPr>
              <a:xfrm flipV="1">
                <a:off x="7071011" y="2770197"/>
                <a:ext cx="436307" cy="857515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直接连接符 30"/>
              <p:cNvCxnSpPr>
                <a:stCxn id="58" idx="1"/>
                <a:endCxn id="71" idx="5"/>
              </p:cNvCxnSpPr>
              <p:nvPr/>
            </p:nvCxnSpPr>
            <p:spPr>
              <a:xfrm flipH="1" flipV="1">
                <a:off x="7071011" y="3678624"/>
                <a:ext cx="413447" cy="1074055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直接连接符 31"/>
              <p:cNvCxnSpPr>
                <a:stCxn id="64" idx="4"/>
                <a:endCxn id="70" idx="1"/>
              </p:cNvCxnSpPr>
              <p:nvPr/>
            </p:nvCxnSpPr>
            <p:spPr>
              <a:xfrm>
                <a:off x="4676753" y="2881677"/>
                <a:ext cx="845309" cy="296662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直接连接符 32"/>
              <p:cNvCxnSpPr>
                <a:stCxn id="69" idx="5"/>
                <a:endCxn id="70" idx="1"/>
              </p:cNvCxnSpPr>
              <p:nvPr/>
            </p:nvCxnSpPr>
            <p:spPr>
              <a:xfrm>
                <a:off x="4294306" y="3707469"/>
                <a:ext cx="1227756" cy="2140836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直接连接符 33"/>
              <p:cNvCxnSpPr>
                <a:stCxn id="56" idx="5"/>
                <a:endCxn id="68" idx="1"/>
              </p:cNvCxnSpPr>
              <p:nvPr/>
            </p:nvCxnSpPr>
            <p:spPr>
              <a:xfrm>
                <a:off x="2494504" y="3761893"/>
                <a:ext cx="1006882" cy="1262023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直接连接符 34"/>
              <p:cNvCxnSpPr>
                <a:stCxn id="68" idx="7"/>
                <a:endCxn id="69" idx="2"/>
              </p:cNvCxnSpPr>
              <p:nvPr/>
            </p:nvCxnSpPr>
            <p:spPr>
              <a:xfrm flipV="1">
                <a:off x="3552298" y="3682013"/>
                <a:ext cx="680552" cy="1341903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直接连接符 35"/>
              <p:cNvCxnSpPr>
                <a:stCxn id="68" idx="0"/>
                <a:endCxn id="65" idx="4"/>
              </p:cNvCxnSpPr>
              <p:nvPr/>
            </p:nvCxnSpPr>
            <p:spPr>
              <a:xfrm flipH="1" flipV="1">
                <a:off x="3317968" y="2581627"/>
                <a:ext cx="208874" cy="2431745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直接连接符 36"/>
              <p:cNvCxnSpPr>
                <a:stCxn id="65" idx="1"/>
                <a:endCxn id="52" idx="4"/>
              </p:cNvCxnSpPr>
              <p:nvPr/>
            </p:nvCxnSpPr>
            <p:spPr>
              <a:xfrm flipH="1" flipV="1">
                <a:off x="3245968" y="1921650"/>
                <a:ext cx="46544" cy="598521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直接连接符 37"/>
              <p:cNvCxnSpPr>
                <a:stCxn id="59" idx="0"/>
                <a:endCxn id="71" idx="4"/>
              </p:cNvCxnSpPr>
              <p:nvPr/>
            </p:nvCxnSpPr>
            <p:spPr>
              <a:xfrm flipV="1">
                <a:off x="6960914" y="3689168"/>
                <a:ext cx="84641" cy="1889941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直接连接符 38"/>
              <p:cNvCxnSpPr>
                <a:stCxn id="71" idx="3"/>
                <a:endCxn id="70" idx="7"/>
              </p:cNvCxnSpPr>
              <p:nvPr/>
            </p:nvCxnSpPr>
            <p:spPr>
              <a:xfrm flipH="1">
                <a:off x="5572974" y="3678624"/>
                <a:ext cx="1447125" cy="2169681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直接连接符 39"/>
              <p:cNvCxnSpPr>
                <a:stCxn id="70" idx="6"/>
                <a:endCxn id="59" idx="2"/>
              </p:cNvCxnSpPr>
              <p:nvPr/>
            </p:nvCxnSpPr>
            <p:spPr>
              <a:xfrm flipV="1">
                <a:off x="5583518" y="5615109"/>
                <a:ext cx="1341396" cy="25865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直接连接符 40"/>
              <p:cNvCxnSpPr>
                <a:stCxn id="70" idx="5"/>
                <a:endCxn id="62" idx="1"/>
              </p:cNvCxnSpPr>
              <p:nvPr/>
            </p:nvCxnSpPr>
            <p:spPr>
              <a:xfrm>
                <a:off x="5572974" y="5899217"/>
                <a:ext cx="527898" cy="244415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直接连接符 41"/>
              <p:cNvCxnSpPr>
                <a:stCxn id="69" idx="0"/>
                <a:endCxn id="64" idx="3"/>
              </p:cNvCxnSpPr>
              <p:nvPr/>
            </p:nvCxnSpPr>
            <p:spPr>
              <a:xfrm flipV="1">
                <a:off x="4268850" y="2871133"/>
                <a:ext cx="382447" cy="774880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直接连接符 42"/>
              <p:cNvCxnSpPr>
                <a:stCxn id="68" idx="6"/>
                <a:endCxn id="70" idx="2"/>
              </p:cNvCxnSpPr>
              <p:nvPr/>
            </p:nvCxnSpPr>
            <p:spPr>
              <a:xfrm>
                <a:off x="3562842" y="5049372"/>
                <a:ext cx="1948676" cy="824389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直接连接符 43"/>
              <p:cNvCxnSpPr>
                <a:stCxn id="57" idx="6"/>
                <a:endCxn id="68" idx="2"/>
              </p:cNvCxnSpPr>
              <p:nvPr/>
            </p:nvCxnSpPr>
            <p:spPr>
              <a:xfrm>
                <a:off x="2723516" y="4804810"/>
                <a:ext cx="767326" cy="24456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直接连接符 44"/>
              <p:cNvCxnSpPr>
                <a:stCxn id="60" idx="7"/>
                <a:endCxn id="68" idx="3"/>
              </p:cNvCxnSpPr>
              <p:nvPr/>
            </p:nvCxnSpPr>
            <p:spPr>
              <a:xfrm flipV="1">
                <a:off x="3271424" y="5074828"/>
                <a:ext cx="229962" cy="51057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直接连接符 45"/>
              <p:cNvCxnSpPr>
                <a:stCxn id="61" idx="0"/>
                <a:endCxn id="68" idx="5"/>
              </p:cNvCxnSpPr>
              <p:nvPr/>
            </p:nvCxnSpPr>
            <p:spPr>
              <a:xfrm flipH="1" flipV="1">
                <a:off x="3552298" y="5074828"/>
                <a:ext cx="539139" cy="1058756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直接连接符 46"/>
              <p:cNvCxnSpPr>
                <a:stCxn id="61" idx="7"/>
                <a:endCxn id="70" idx="2"/>
              </p:cNvCxnSpPr>
              <p:nvPr/>
            </p:nvCxnSpPr>
            <p:spPr>
              <a:xfrm flipV="1">
                <a:off x="4116893" y="5873761"/>
                <a:ext cx="1394625" cy="270367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72" name="组合 71"/>
          <p:cNvGrpSpPr/>
          <p:nvPr/>
        </p:nvGrpSpPr>
        <p:grpSpPr>
          <a:xfrm>
            <a:off x="5781676" y="-1162247"/>
            <a:ext cx="5058729" cy="5053979"/>
            <a:chOff x="1308745" y="2394284"/>
            <a:chExt cx="2326780" cy="2324596"/>
          </a:xfrm>
        </p:grpSpPr>
        <p:pic>
          <p:nvPicPr>
            <p:cNvPr id="73" name="图片 72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00162" y="2491188"/>
              <a:ext cx="2143001" cy="2140801"/>
            </a:xfrm>
            <a:prstGeom prst="rect">
              <a:avLst/>
            </a:prstGeom>
          </p:spPr>
        </p:pic>
        <p:grpSp>
          <p:nvGrpSpPr>
            <p:cNvPr id="74" name="组合 73"/>
            <p:cNvGrpSpPr/>
            <p:nvPr/>
          </p:nvGrpSpPr>
          <p:grpSpPr>
            <a:xfrm>
              <a:off x="1308745" y="2394284"/>
              <a:ext cx="2326780" cy="2324596"/>
              <a:chOff x="2433048" y="1083945"/>
              <a:chExt cx="5333787" cy="5328780"/>
            </a:xfrm>
          </p:grpSpPr>
          <p:sp>
            <p:nvSpPr>
              <p:cNvPr id="75" name="十六角星 74"/>
              <p:cNvSpPr/>
              <p:nvPr/>
            </p:nvSpPr>
            <p:spPr>
              <a:xfrm>
                <a:off x="2470676" y="1127265"/>
                <a:ext cx="5254344" cy="5254344"/>
              </a:xfrm>
              <a:prstGeom prst="star16">
                <a:avLst>
                  <a:gd name="adj" fmla="val 49459"/>
                </a:avLst>
              </a:prstGeom>
              <a:noFill/>
              <a:ln w="6350">
                <a:solidFill>
                  <a:srgbClr val="9D819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grpSp>
            <p:nvGrpSpPr>
              <p:cNvPr id="76" name="组合 75"/>
              <p:cNvGrpSpPr/>
              <p:nvPr/>
            </p:nvGrpSpPr>
            <p:grpSpPr>
              <a:xfrm>
                <a:off x="2433048" y="1083945"/>
                <a:ext cx="5333787" cy="5328780"/>
                <a:chOff x="2280648" y="931545"/>
                <a:chExt cx="5333787" cy="5328780"/>
              </a:xfrm>
            </p:grpSpPr>
            <p:sp>
              <p:nvSpPr>
                <p:cNvPr id="113" name="椭圆 112"/>
                <p:cNvSpPr/>
                <p:nvPr/>
              </p:nvSpPr>
              <p:spPr>
                <a:xfrm>
                  <a:off x="3903037" y="1131665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14" name="椭圆 113"/>
                <p:cNvSpPr/>
                <p:nvPr/>
              </p:nvSpPr>
              <p:spPr>
                <a:xfrm>
                  <a:off x="4916848" y="931545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15" name="椭圆 114"/>
                <p:cNvSpPr/>
                <p:nvPr/>
              </p:nvSpPr>
              <p:spPr>
                <a:xfrm>
                  <a:off x="5937928" y="1131169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16" name="椭圆 115"/>
                <p:cNvSpPr/>
                <p:nvPr/>
              </p:nvSpPr>
              <p:spPr>
                <a:xfrm>
                  <a:off x="6763087" y="170149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17" name="椭圆 116"/>
                <p:cNvSpPr/>
                <p:nvPr/>
              </p:nvSpPr>
              <p:spPr>
                <a:xfrm>
                  <a:off x="3057568" y="1697250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18" name="椭圆 117"/>
                <p:cNvSpPr/>
                <p:nvPr/>
              </p:nvSpPr>
              <p:spPr>
                <a:xfrm>
                  <a:off x="2481128" y="2556341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19" name="椭圆 118"/>
                <p:cNvSpPr/>
                <p:nvPr/>
              </p:nvSpPr>
              <p:spPr>
                <a:xfrm>
                  <a:off x="7344374" y="2556341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20" name="椭圆 119"/>
                <p:cNvSpPr/>
                <p:nvPr/>
              </p:nvSpPr>
              <p:spPr>
                <a:xfrm>
                  <a:off x="7542435" y="354803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21" name="椭圆 120"/>
                <p:cNvSpPr/>
                <p:nvPr/>
              </p:nvSpPr>
              <p:spPr>
                <a:xfrm>
                  <a:off x="2280648" y="354803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22" name="椭圆 121"/>
                <p:cNvSpPr/>
                <p:nvPr/>
              </p:nvSpPr>
              <p:spPr>
                <a:xfrm>
                  <a:off x="2499116" y="4616410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23" name="椭圆 122"/>
                <p:cNvSpPr/>
                <p:nvPr/>
              </p:nvSpPr>
              <p:spPr>
                <a:xfrm>
                  <a:off x="7321514" y="4589735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24" name="椭圆 123"/>
                <p:cNvSpPr/>
                <p:nvPr/>
              </p:nvSpPr>
              <p:spPr>
                <a:xfrm>
                  <a:off x="6772514" y="5426709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25" name="椭圆 124"/>
                <p:cNvSpPr/>
                <p:nvPr/>
              </p:nvSpPr>
              <p:spPr>
                <a:xfrm>
                  <a:off x="3057568" y="5422462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26" name="椭圆 125"/>
                <p:cNvSpPr/>
                <p:nvPr/>
              </p:nvSpPr>
              <p:spPr>
                <a:xfrm>
                  <a:off x="3903037" y="5981184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27" name="椭圆 126"/>
                <p:cNvSpPr/>
                <p:nvPr/>
              </p:nvSpPr>
              <p:spPr>
                <a:xfrm>
                  <a:off x="5937928" y="5980688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28" name="椭圆 127"/>
                <p:cNvSpPr/>
                <p:nvPr/>
              </p:nvSpPr>
              <p:spPr>
                <a:xfrm>
                  <a:off x="4916848" y="6188325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29" name="椭圆 128"/>
                <p:cNvSpPr/>
                <p:nvPr/>
              </p:nvSpPr>
              <p:spPr>
                <a:xfrm>
                  <a:off x="4488353" y="265727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30" name="椭圆 129"/>
                <p:cNvSpPr/>
                <p:nvPr/>
              </p:nvSpPr>
              <p:spPr>
                <a:xfrm>
                  <a:off x="3129568" y="235722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31" name="椭圆 130"/>
                <p:cNvSpPr/>
                <p:nvPr/>
              </p:nvSpPr>
              <p:spPr>
                <a:xfrm>
                  <a:off x="6107323" y="257222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32" name="椭圆 131"/>
                <p:cNvSpPr/>
                <p:nvPr/>
              </p:nvSpPr>
              <p:spPr>
                <a:xfrm>
                  <a:off x="5431118" y="1544823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33" name="椭圆 132"/>
                <p:cNvSpPr/>
                <p:nvPr/>
              </p:nvSpPr>
              <p:spPr>
                <a:xfrm>
                  <a:off x="3338442" y="4860972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34" name="椭圆 133"/>
                <p:cNvSpPr/>
                <p:nvPr/>
              </p:nvSpPr>
              <p:spPr>
                <a:xfrm>
                  <a:off x="4080450" y="3493613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35" name="椭圆 134"/>
                <p:cNvSpPr/>
                <p:nvPr/>
              </p:nvSpPr>
              <p:spPr>
                <a:xfrm>
                  <a:off x="5359118" y="5685361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36" name="椭圆 135"/>
                <p:cNvSpPr/>
                <p:nvPr/>
              </p:nvSpPr>
              <p:spPr>
                <a:xfrm>
                  <a:off x="6857155" y="3464768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</p:grpSp>
          <p:cxnSp>
            <p:nvCxnSpPr>
              <p:cNvPr id="77" name="直接连接符 76"/>
              <p:cNvCxnSpPr>
                <a:stCxn id="114" idx="4"/>
                <a:endCxn id="132" idx="0"/>
              </p:cNvCxnSpPr>
              <p:nvPr/>
            </p:nvCxnSpPr>
            <p:spPr>
              <a:xfrm>
                <a:off x="5105248" y="1155945"/>
                <a:ext cx="514270" cy="54127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直接连接符 77"/>
              <p:cNvCxnSpPr>
                <a:stCxn id="113" idx="5"/>
                <a:endCxn id="132" idx="2"/>
              </p:cNvCxnSpPr>
              <p:nvPr/>
            </p:nvCxnSpPr>
            <p:spPr>
              <a:xfrm>
                <a:off x="4116893" y="1345521"/>
                <a:ext cx="1466625" cy="38770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直接连接符 78"/>
              <p:cNvCxnSpPr>
                <a:stCxn id="130" idx="0"/>
                <a:endCxn id="113" idx="4"/>
              </p:cNvCxnSpPr>
              <p:nvPr/>
            </p:nvCxnSpPr>
            <p:spPr>
              <a:xfrm flipV="1">
                <a:off x="3317968" y="1356065"/>
                <a:ext cx="773469" cy="115356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直接连接符 79"/>
              <p:cNvCxnSpPr>
                <a:stCxn id="135" idx="3"/>
                <a:endCxn id="128" idx="0"/>
              </p:cNvCxnSpPr>
              <p:nvPr/>
            </p:nvCxnSpPr>
            <p:spPr>
              <a:xfrm flipH="1">
                <a:off x="5105248" y="5899217"/>
                <a:ext cx="416814" cy="44150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直接连接符 80"/>
              <p:cNvCxnSpPr>
                <a:stCxn id="118" idx="6"/>
              </p:cNvCxnSpPr>
              <p:nvPr/>
            </p:nvCxnSpPr>
            <p:spPr>
              <a:xfrm flipV="1">
                <a:off x="2705528" y="2545627"/>
                <a:ext cx="576440" cy="199114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直接连接符 81"/>
              <p:cNvCxnSpPr>
                <a:stCxn id="130" idx="6"/>
                <a:endCxn id="129" idx="2"/>
              </p:cNvCxnSpPr>
              <p:nvPr/>
            </p:nvCxnSpPr>
            <p:spPr>
              <a:xfrm>
                <a:off x="3353968" y="2545627"/>
                <a:ext cx="1286785" cy="300050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直接连接符 82"/>
              <p:cNvCxnSpPr>
                <a:stCxn id="129" idx="0"/>
                <a:endCxn id="132" idx="4"/>
              </p:cNvCxnSpPr>
              <p:nvPr/>
            </p:nvCxnSpPr>
            <p:spPr>
              <a:xfrm flipV="1">
                <a:off x="4676753" y="1769223"/>
                <a:ext cx="942765" cy="1040454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直接连接符 83"/>
              <p:cNvCxnSpPr>
                <a:stCxn id="121" idx="7"/>
                <a:endCxn id="130" idx="3"/>
              </p:cNvCxnSpPr>
              <p:nvPr/>
            </p:nvCxnSpPr>
            <p:spPr>
              <a:xfrm flipV="1">
                <a:off x="2494504" y="2571083"/>
                <a:ext cx="798008" cy="113989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直接连接符 84"/>
              <p:cNvCxnSpPr>
                <a:stCxn id="130" idx="5"/>
                <a:endCxn id="134" idx="1"/>
              </p:cNvCxnSpPr>
              <p:nvPr/>
            </p:nvCxnSpPr>
            <p:spPr>
              <a:xfrm>
                <a:off x="3343424" y="2571083"/>
                <a:ext cx="899970" cy="1085474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直接连接符 85"/>
              <p:cNvCxnSpPr>
                <a:stCxn id="132" idx="7"/>
                <a:endCxn id="115" idx="3"/>
              </p:cNvCxnSpPr>
              <p:nvPr/>
            </p:nvCxnSpPr>
            <p:spPr>
              <a:xfrm flipV="1">
                <a:off x="5644974" y="1345025"/>
                <a:ext cx="455898" cy="36274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直接连接符 86"/>
              <p:cNvCxnSpPr>
                <a:stCxn id="132" idx="6"/>
                <a:endCxn id="116" idx="2"/>
              </p:cNvCxnSpPr>
              <p:nvPr/>
            </p:nvCxnSpPr>
            <p:spPr>
              <a:xfrm>
                <a:off x="5655518" y="1733223"/>
                <a:ext cx="1259969" cy="156674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直接连接符 87"/>
              <p:cNvCxnSpPr>
                <a:stCxn id="130" idx="7"/>
                <a:endCxn id="132" idx="3"/>
              </p:cNvCxnSpPr>
              <p:nvPr/>
            </p:nvCxnSpPr>
            <p:spPr>
              <a:xfrm flipV="1">
                <a:off x="3343424" y="1758679"/>
                <a:ext cx="2250638" cy="76149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直接连接符 88"/>
              <p:cNvCxnSpPr>
                <a:stCxn id="132" idx="5"/>
                <a:endCxn id="131" idx="1"/>
              </p:cNvCxnSpPr>
              <p:nvPr/>
            </p:nvCxnSpPr>
            <p:spPr>
              <a:xfrm>
                <a:off x="5644974" y="1758679"/>
                <a:ext cx="625293" cy="97649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直接连接符 89"/>
              <p:cNvCxnSpPr>
                <a:stCxn id="129" idx="6"/>
                <a:endCxn id="131" idx="2"/>
              </p:cNvCxnSpPr>
              <p:nvPr/>
            </p:nvCxnSpPr>
            <p:spPr>
              <a:xfrm flipV="1">
                <a:off x="4712753" y="2760627"/>
                <a:ext cx="1546970" cy="85050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直接连接符 90"/>
              <p:cNvCxnSpPr>
                <a:stCxn id="131" idx="3"/>
                <a:endCxn id="135" idx="0"/>
              </p:cNvCxnSpPr>
              <p:nvPr/>
            </p:nvCxnSpPr>
            <p:spPr>
              <a:xfrm flipH="1">
                <a:off x="5547518" y="2786083"/>
                <a:ext cx="722749" cy="305167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直接连接符 91"/>
              <p:cNvCxnSpPr>
                <a:stCxn id="131" idx="0"/>
                <a:endCxn id="116" idx="3"/>
              </p:cNvCxnSpPr>
              <p:nvPr/>
            </p:nvCxnSpPr>
            <p:spPr>
              <a:xfrm flipV="1">
                <a:off x="6295723" y="1915353"/>
                <a:ext cx="630308" cy="809274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直接连接符 92"/>
              <p:cNvCxnSpPr>
                <a:stCxn id="131" idx="5"/>
                <a:endCxn id="136" idx="1"/>
              </p:cNvCxnSpPr>
              <p:nvPr/>
            </p:nvCxnSpPr>
            <p:spPr>
              <a:xfrm>
                <a:off x="6321179" y="2786083"/>
                <a:ext cx="698920" cy="841629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直接连接符 93"/>
              <p:cNvCxnSpPr>
                <a:stCxn id="136" idx="0"/>
                <a:endCxn id="116" idx="4"/>
              </p:cNvCxnSpPr>
              <p:nvPr/>
            </p:nvCxnSpPr>
            <p:spPr>
              <a:xfrm flipH="1" flipV="1">
                <a:off x="6951487" y="1925897"/>
                <a:ext cx="94068" cy="1691271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直接连接符 94"/>
              <p:cNvCxnSpPr>
                <a:stCxn id="136" idx="7"/>
                <a:endCxn id="119" idx="3"/>
              </p:cNvCxnSpPr>
              <p:nvPr/>
            </p:nvCxnSpPr>
            <p:spPr>
              <a:xfrm flipV="1">
                <a:off x="7071011" y="2770197"/>
                <a:ext cx="436307" cy="857515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直接连接符 95"/>
              <p:cNvCxnSpPr>
                <a:stCxn id="123" idx="1"/>
                <a:endCxn id="136" idx="5"/>
              </p:cNvCxnSpPr>
              <p:nvPr/>
            </p:nvCxnSpPr>
            <p:spPr>
              <a:xfrm flipH="1" flipV="1">
                <a:off x="7071011" y="3678624"/>
                <a:ext cx="413447" cy="1074055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" name="直接连接符 96"/>
              <p:cNvCxnSpPr>
                <a:stCxn id="129" idx="4"/>
                <a:endCxn id="135" idx="1"/>
              </p:cNvCxnSpPr>
              <p:nvPr/>
            </p:nvCxnSpPr>
            <p:spPr>
              <a:xfrm>
                <a:off x="4676753" y="2881677"/>
                <a:ext cx="845309" cy="296662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直接连接符 97"/>
              <p:cNvCxnSpPr>
                <a:stCxn id="134" idx="5"/>
                <a:endCxn id="135" idx="1"/>
              </p:cNvCxnSpPr>
              <p:nvPr/>
            </p:nvCxnSpPr>
            <p:spPr>
              <a:xfrm>
                <a:off x="4294306" y="3707469"/>
                <a:ext cx="1227756" cy="2140836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直接连接符 98"/>
              <p:cNvCxnSpPr>
                <a:stCxn id="121" idx="5"/>
                <a:endCxn id="133" idx="1"/>
              </p:cNvCxnSpPr>
              <p:nvPr/>
            </p:nvCxnSpPr>
            <p:spPr>
              <a:xfrm>
                <a:off x="2494504" y="3761893"/>
                <a:ext cx="1006882" cy="1262023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直接连接符 99"/>
              <p:cNvCxnSpPr>
                <a:stCxn id="133" idx="7"/>
                <a:endCxn id="134" idx="2"/>
              </p:cNvCxnSpPr>
              <p:nvPr/>
            </p:nvCxnSpPr>
            <p:spPr>
              <a:xfrm flipV="1">
                <a:off x="3552298" y="3682013"/>
                <a:ext cx="680552" cy="1341903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直接连接符 100"/>
              <p:cNvCxnSpPr>
                <a:stCxn id="133" idx="0"/>
                <a:endCxn id="130" idx="4"/>
              </p:cNvCxnSpPr>
              <p:nvPr/>
            </p:nvCxnSpPr>
            <p:spPr>
              <a:xfrm flipH="1" flipV="1">
                <a:off x="3317968" y="2581627"/>
                <a:ext cx="208874" cy="2431745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直接连接符 101"/>
              <p:cNvCxnSpPr>
                <a:stCxn id="130" idx="1"/>
                <a:endCxn id="117" idx="4"/>
              </p:cNvCxnSpPr>
              <p:nvPr/>
            </p:nvCxnSpPr>
            <p:spPr>
              <a:xfrm flipH="1" flipV="1">
                <a:off x="3245968" y="1921650"/>
                <a:ext cx="46544" cy="598521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直接连接符 102"/>
              <p:cNvCxnSpPr>
                <a:stCxn id="124" idx="0"/>
                <a:endCxn id="136" idx="4"/>
              </p:cNvCxnSpPr>
              <p:nvPr/>
            </p:nvCxnSpPr>
            <p:spPr>
              <a:xfrm flipV="1">
                <a:off x="6960914" y="3689168"/>
                <a:ext cx="84641" cy="1889941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直接连接符 103"/>
              <p:cNvCxnSpPr>
                <a:stCxn id="136" idx="3"/>
                <a:endCxn id="135" idx="7"/>
              </p:cNvCxnSpPr>
              <p:nvPr/>
            </p:nvCxnSpPr>
            <p:spPr>
              <a:xfrm flipH="1">
                <a:off x="5572974" y="3678624"/>
                <a:ext cx="1447125" cy="2169681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直接连接符 104"/>
              <p:cNvCxnSpPr>
                <a:stCxn id="135" idx="6"/>
                <a:endCxn id="124" idx="2"/>
              </p:cNvCxnSpPr>
              <p:nvPr/>
            </p:nvCxnSpPr>
            <p:spPr>
              <a:xfrm flipV="1">
                <a:off x="5583518" y="5615109"/>
                <a:ext cx="1341396" cy="25865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直接连接符 105"/>
              <p:cNvCxnSpPr>
                <a:stCxn id="135" idx="5"/>
                <a:endCxn id="127" idx="1"/>
              </p:cNvCxnSpPr>
              <p:nvPr/>
            </p:nvCxnSpPr>
            <p:spPr>
              <a:xfrm>
                <a:off x="5572974" y="5899217"/>
                <a:ext cx="527898" cy="244415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直接连接符 106"/>
              <p:cNvCxnSpPr>
                <a:stCxn id="134" idx="0"/>
                <a:endCxn id="129" idx="3"/>
              </p:cNvCxnSpPr>
              <p:nvPr/>
            </p:nvCxnSpPr>
            <p:spPr>
              <a:xfrm flipV="1">
                <a:off x="4268850" y="2871133"/>
                <a:ext cx="382447" cy="774880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直接连接符 107"/>
              <p:cNvCxnSpPr>
                <a:stCxn id="133" idx="6"/>
                <a:endCxn id="135" idx="2"/>
              </p:cNvCxnSpPr>
              <p:nvPr/>
            </p:nvCxnSpPr>
            <p:spPr>
              <a:xfrm>
                <a:off x="3562842" y="5049372"/>
                <a:ext cx="1948676" cy="824389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直接连接符 108"/>
              <p:cNvCxnSpPr>
                <a:stCxn id="122" idx="6"/>
                <a:endCxn id="133" idx="2"/>
              </p:cNvCxnSpPr>
              <p:nvPr/>
            </p:nvCxnSpPr>
            <p:spPr>
              <a:xfrm>
                <a:off x="2723516" y="4804810"/>
                <a:ext cx="767326" cy="24456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直接连接符 109"/>
              <p:cNvCxnSpPr>
                <a:stCxn id="125" idx="7"/>
                <a:endCxn id="133" idx="3"/>
              </p:cNvCxnSpPr>
              <p:nvPr/>
            </p:nvCxnSpPr>
            <p:spPr>
              <a:xfrm flipV="1">
                <a:off x="3271424" y="5074828"/>
                <a:ext cx="229962" cy="51057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直接连接符 110"/>
              <p:cNvCxnSpPr>
                <a:stCxn id="126" idx="0"/>
                <a:endCxn id="133" idx="5"/>
              </p:cNvCxnSpPr>
              <p:nvPr/>
            </p:nvCxnSpPr>
            <p:spPr>
              <a:xfrm flipH="1" flipV="1">
                <a:off x="3552298" y="5074828"/>
                <a:ext cx="539139" cy="1058756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直接连接符 111"/>
              <p:cNvCxnSpPr>
                <a:stCxn id="126" idx="7"/>
                <a:endCxn id="135" idx="2"/>
              </p:cNvCxnSpPr>
              <p:nvPr/>
            </p:nvCxnSpPr>
            <p:spPr>
              <a:xfrm flipV="1">
                <a:off x="4116893" y="5873761"/>
                <a:ext cx="1394625" cy="270367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37" name="文本框 136"/>
          <p:cNvSpPr txBox="1"/>
          <p:nvPr/>
        </p:nvSpPr>
        <p:spPr>
          <a:xfrm>
            <a:off x="3564468" y="311227"/>
            <a:ext cx="1999576" cy="42471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17999" b="1" dirty="0">
                <a:solidFill>
                  <a:srgbClr val="9D8199">
                    <a:alpha val="60000"/>
                  </a:srgbClr>
                </a:solidFill>
                <a:latin typeface="方正兰亭粗黑简体" panose="02000000000000000000" pitchFamily="2" charset="-122"/>
                <a:ea typeface="方正兰亭粗黑简体" panose="02000000000000000000" pitchFamily="2" charset="-122"/>
              </a:rPr>
              <a:t>1</a:t>
            </a:r>
          </a:p>
        </p:txBody>
      </p:sp>
      <p:sp>
        <p:nvSpPr>
          <p:cNvPr id="139" name="文本框 138"/>
          <p:cNvSpPr txBox="1"/>
          <p:nvPr/>
        </p:nvSpPr>
        <p:spPr>
          <a:xfrm>
            <a:off x="3276579" y="3449353"/>
            <a:ext cx="2664192" cy="743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3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选题原因</a:t>
            </a:r>
            <a:endParaRPr lang="en-US" altLang="zh-CN" sz="1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0" name="等腰三角形 139"/>
          <p:cNvSpPr/>
          <p:nvPr/>
        </p:nvSpPr>
        <p:spPr>
          <a:xfrm rot="2134315">
            <a:off x="5998599" y="1614964"/>
            <a:ext cx="289510" cy="249578"/>
          </a:xfrm>
          <a:prstGeom prst="triangle">
            <a:avLst/>
          </a:prstGeom>
          <a:solidFill>
            <a:srgbClr val="663B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013"/>
          </a:p>
        </p:txBody>
      </p:sp>
      <p:sp>
        <p:nvSpPr>
          <p:cNvPr id="141" name="等腰三角形 140"/>
          <p:cNvSpPr/>
          <p:nvPr/>
        </p:nvSpPr>
        <p:spPr>
          <a:xfrm rot="12600000">
            <a:off x="5197448" y="1171321"/>
            <a:ext cx="227683" cy="196278"/>
          </a:xfrm>
          <a:prstGeom prst="triangle">
            <a:avLst/>
          </a:prstGeom>
          <a:solidFill>
            <a:srgbClr val="A252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013"/>
          </a:p>
        </p:txBody>
      </p:sp>
      <p:sp>
        <p:nvSpPr>
          <p:cNvPr id="142" name="等腰三角形 141"/>
          <p:cNvSpPr/>
          <p:nvPr/>
        </p:nvSpPr>
        <p:spPr>
          <a:xfrm rot="460079">
            <a:off x="5608284" y="1067368"/>
            <a:ext cx="384542" cy="331501"/>
          </a:xfrm>
          <a:prstGeom prst="triangle">
            <a:avLst/>
          </a:prstGeom>
          <a:solidFill>
            <a:srgbClr val="8A37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013"/>
          </a:p>
        </p:txBody>
      </p:sp>
    </p:spTree>
    <p:extLst>
      <p:ext uri="{BB962C8B-B14F-4D97-AF65-F5344CB8AC3E}">
        <p14:creationId xmlns:p14="http://schemas.microsoft.com/office/powerpoint/2010/main" val="3661152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Tm="0">
        <p:blinds dir="vert"/>
      </p:transition>
    </mc:Choice>
    <mc:Fallback xmlns="">
      <p:transition spd="slow" advTm="0">
        <p:blinds dir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9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250" fill="hold"/>
                                        <p:tgtEl>
                                          <p:spTgt spid="1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250" fill="hold"/>
                                        <p:tgtEl>
                                          <p:spTgt spid="1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8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Rot by="10800000">
                                      <p:cBhvr>
                                        <p:cTn id="10" dur="1250" fill="hold"/>
                                        <p:tgtEl>
                                          <p:spTgt spid="14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" presetID="2" presetClass="entr" presetSubtype="9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1250" fill="hold"/>
                                        <p:tgtEl>
                                          <p:spTgt spid="1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1250" fill="hold"/>
                                        <p:tgtEl>
                                          <p:spTgt spid="1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8" presetClass="emph" presetSubtype="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Rot by="-10800000">
                                      <p:cBhvr>
                                        <p:cTn id="16" dur="1250" fill="hold"/>
                                        <p:tgtEl>
                                          <p:spTgt spid="14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7" presetID="2" presetClass="entr" presetSubtype="9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250" fill="hold"/>
                                        <p:tgtEl>
                                          <p:spTgt spid="1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250" fill="hold"/>
                                        <p:tgtEl>
                                          <p:spTgt spid="1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8" presetClass="emph" presetSubtype="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Rot by="10800000">
                                      <p:cBhvr>
                                        <p:cTn id="22" dur="1250" fill="hold"/>
                                        <p:tgtEl>
                                          <p:spTgt spid="14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3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3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3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8" presetClass="emph" presetSubtype="0" repeatCount="2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29" dur="3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3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3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30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8" presetClass="emph" presetSubtype="0" repeatCount="2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36" dur="3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7" presetID="2" presetClass="entr" presetSubtype="4" fill="hold" grpId="0" nodeType="withEffect">
                                  <p:stCondLst>
                                    <p:cond delay="35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1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1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47" presetClass="entr" presetSubtype="0" fill="hold" grpId="0" nodeType="withEffect">
                                  <p:stCondLst>
                                    <p:cond delay="375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3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7" grpId="0"/>
      <p:bldP spid="139" grpId="0"/>
      <p:bldP spid="140" grpId="0" animBg="1"/>
      <p:bldP spid="140" grpId="1" animBg="1"/>
      <p:bldP spid="141" grpId="0" animBg="1"/>
      <p:bldP spid="141" grpId="1" animBg="1"/>
      <p:bldP spid="142" grpId="0" animBg="1"/>
      <p:bldP spid="142" grpId="1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合 3"/>
          <p:cNvGrpSpPr/>
          <p:nvPr/>
        </p:nvGrpSpPr>
        <p:grpSpPr>
          <a:xfrm>
            <a:off x="183398" y="425317"/>
            <a:ext cx="846443" cy="659285"/>
            <a:chOff x="5896029" y="567090"/>
            <a:chExt cx="2542304" cy="1980172"/>
          </a:xfrm>
        </p:grpSpPr>
        <p:grpSp>
          <p:nvGrpSpPr>
            <p:cNvPr id="5" name="组合 4"/>
            <p:cNvGrpSpPr/>
            <p:nvPr/>
          </p:nvGrpSpPr>
          <p:grpSpPr>
            <a:xfrm>
              <a:off x="6157182" y="567090"/>
              <a:ext cx="1982032" cy="1980172"/>
              <a:chOff x="6309221" y="788029"/>
              <a:chExt cx="2825105" cy="2822453"/>
            </a:xfrm>
          </p:grpSpPr>
          <p:sp>
            <p:nvSpPr>
              <p:cNvPr id="8" name="椭圆 7"/>
              <p:cNvSpPr/>
              <p:nvPr/>
            </p:nvSpPr>
            <p:spPr>
              <a:xfrm>
                <a:off x="6461555" y="939037"/>
                <a:ext cx="2520437" cy="2520437"/>
              </a:xfrm>
              <a:prstGeom prst="ellipse">
                <a:avLst/>
              </a:prstGeom>
              <a:solidFill>
                <a:srgbClr val="2921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grpSp>
            <p:nvGrpSpPr>
              <p:cNvPr id="9" name="组合 8"/>
              <p:cNvGrpSpPr/>
              <p:nvPr/>
            </p:nvGrpSpPr>
            <p:grpSpPr>
              <a:xfrm>
                <a:off x="6309221" y="788029"/>
                <a:ext cx="2825105" cy="2822453"/>
                <a:chOff x="2433048" y="1083945"/>
                <a:chExt cx="5333787" cy="5328780"/>
              </a:xfrm>
            </p:grpSpPr>
            <p:sp>
              <p:nvSpPr>
                <p:cNvPr id="10" name="十六角星 9"/>
                <p:cNvSpPr/>
                <p:nvPr/>
              </p:nvSpPr>
              <p:spPr>
                <a:xfrm>
                  <a:off x="2470676" y="1127265"/>
                  <a:ext cx="5254344" cy="5254344"/>
                </a:xfrm>
                <a:prstGeom prst="star16">
                  <a:avLst>
                    <a:gd name="adj" fmla="val 49459"/>
                  </a:avLst>
                </a:prstGeom>
                <a:noFill/>
                <a:ln w="6350">
                  <a:solidFill>
                    <a:srgbClr val="9D819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grpSp>
              <p:nvGrpSpPr>
                <p:cNvPr id="11" name="组合 10"/>
                <p:cNvGrpSpPr/>
                <p:nvPr/>
              </p:nvGrpSpPr>
              <p:grpSpPr>
                <a:xfrm>
                  <a:off x="2433048" y="1083945"/>
                  <a:ext cx="5333787" cy="5328780"/>
                  <a:chOff x="2280648" y="931545"/>
                  <a:chExt cx="5333787" cy="5328780"/>
                </a:xfrm>
              </p:grpSpPr>
              <p:sp>
                <p:nvSpPr>
                  <p:cNvPr id="48" name="椭圆 47"/>
                  <p:cNvSpPr/>
                  <p:nvPr/>
                </p:nvSpPr>
                <p:spPr>
                  <a:xfrm>
                    <a:off x="3903037" y="113166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49" name="椭圆 48"/>
                  <p:cNvSpPr/>
                  <p:nvPr/>
                </p:nvSpPr>
                <p:spPr>
                  <a:xfrm>
                    <a:off x="4916848" y="93154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0" name="椭圆 49"/>
                  <p:cNvSpPr/>
                  <p:nvPr/>
                </p:nvSpPr>
                <p:spPr>
                  <a:xfrm>
                    <a:off x="5937928" y="113116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1" name="椭圆 50"/>
                  <p:cNvSpPr/>
                  <p:nvPr/>
                </p:nvSpPr>
                <p:spPr>
                  <a:xfrm>
                    <a:off x="6763087" y="170149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2" name="椭圆 51"/>
                  <p:cNvSpPr/>
                  <p:nvPr/>
                </p:nvSpPr>
                <p:spPr>
                  <a:xfrm>
                    <a:off x="3057568" y="169725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3" name="椭圆 52"/>
                  <p:cNvSpPr/>
                  <p:nvPr/>
                </p:nvSpPr>
                <p:spPr>
                  <a:xfrm>
                    <a:off x="2481128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4" name="椭圆 53"/>
                  <p:cNvSpPr/>
                  <p:nvPr/>
                </p:nvSpPr>
                <p:spPr>
                  <a:xfrm>
                    <a:off x="7344374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5" name="椭圆 54"/>
                  <p:cNvSpPr/>
                  <p:nvPr/>
                </p:nvSpPr>
                <p:spPr>
                  <a:xfrm>
                    <a:off x="7542435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6" name="椭圆 55"/>
                  <p:cNvSpPr/>
                  <p:nvPr/>
                </p:nvSpPr>
                <p:spPr>
                  <a:xfrm>
                    <a:off x="2280648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7" name="椭圆 56"/>
                  <p:cNvSpPr/>
                  <p:nvPr/>
                </p:nvSpPr>
                <p:spPr>
                  <a:xfrm>
                    <a:off x="2499116" y="461641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8" name="椭圆 57"/>
                  <p:cNvSpPr/>
                  <p:nvPr/>
                </p:nvSpPr>
                <p:spPr>
                  <a:xfrm>
                    <a:off x="7321514" y="458973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9" name="椭圆 58"/>
                  <p:cNvSpPr/>
                  <p:nvPr/>
                </p:nvSpPr>
                <p:spPr>
                  <a:xfrm>
                    <a:off x="6772514" y="542670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0" name="椭圆 59"/>
                  <p:cNvSpPr/>
                  <p:nvPr/>
                </p:nvSpPr>
                <p:spPr>
                  <a:xfrm>
                    <a:off x="3057568" y="542246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1" name="椭圆 60"/>
                  <p:cNvSpPr/>
                  <p:nvPr/>
                </p:nvSpPr>
                <p:spPr>
                  <a:xfrm>
                    <a:off x="3903037" y="5981184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2" name="椭圆 61"/>
                  <p:cNvSpPr/>
                  <p:nvPr/>
                </p:nvSpPr>
                <p:spPr>
                  <a:xfrm>
                    <a:off x="5937928" y="598068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3" name="椭圆 62"/>
                  <p:cNvSpPr/>
                  <p:nvPr/>
                </p:nvSpPr>
                <p:spPr>
                  <a:xfrm>
                    <a:off x="4916848" y="618832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4" name="椭圆 63"/>
                  <p:cNvSpPr/>
                  <p:nvPr/>
                </p:nvSpPr>
                <p:spPr>
                  <a:xfrm>
                    <a:off x="4488353" y="265727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5" name="椭圆 64"/>
                  <p:cNvSpPr/>
                  <p:nvPr/>
                </p:nvSpPr>
                <p:spPr>
                  <a:xfrm>
                    <a:off x="3129568" y="2357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6" name="椭圆 65"/>
                  <p:cNvSpPr/>
                  <p:nvPr/>
                </p:nvSpPr>
                <p:spPr>
                  <a:xfrm>
                    <a:off x="6107323" y="2572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7" name="椭圆 66"/>
                  <p:cNvSpPr/>
                  <p:nvPr/>
                </p:nvSpPr>
                <p:spPr>
                  <a:xfrm>
                    <a:off x="5431118" y="154482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8" name="椭圆 67"/>
                  <p:cNvSpPr/>
                  <p:nvPr/>
                </p:nvSpPr>
                <p:spPr>
                  <a:xfrm>
                    <a:off x="3338442" y="486097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9" name="椭圆 68"/>
                  <p:cNvSpPr/>
                  <p:nvPr/>
                </p:nvSpPr>
                <p:spPr>
                  <a:xfrm>
                    <a:off x="4080450" y="349361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70" name="椭圆 69"/>
                  <p:cNvSpPr/>
                  <p:nvPr/>
                </p:nvSpPr>
                <p:spPr>
                  <a:xfrm>
                    <a:off x="5359118" y="568536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71" name="椭圆 70"/>
                  <p:cNvSpPr/>
                  <p:nvPr/>
                </p:nvSpPr>
                <p:spPr>
                  <a:xfrm>
                    <a:off x="6857155" y="346476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</p:grpSp>
            <p:cxnSp>
              <p:nvCxnSpPr>
                <p:cNvPr id="12" name="直接连接符 11"/>
                <p:cNvCxnSpPr>
                  <a:stCxn id="49" idx="4"/>
                  <a:endCxn id="67" idx="0"/>
                </p:cNvCxnSpPr>
                <p:nvPr/>
              </p:nvCxnSpPr>
              <p:spPr>
                <a:xfrm>
                  <a:off x="5105248" y="1155945"/>
                  <a:ext cx="514270" cy="5412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" name="直接连接符 12"/>
                <p:cNvCxnSpPr>
                  <a:stCxn id="48" idx="5"/>
                  <a:endCxn id="67" idx="2"/>
                </p:cNvCxnSpPr>
                <p:nvPr/>
              </p:nvCxnSpPr>
              <p:spPr>
                <a:xfrm>
                  <a:off x="4116893" y="1345521"/>
                  <a:ext cx="1466625" cy="38770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" name="直接连接符 13"/>
                <p:cNvCxnSpPr>
                  <a:stCxn id="65" idx="0"/>
                  <a:endCxn id="48" idx="4"/>
                </p:cNvCxnSpPr>
                <p:nvPr/>
              </p:nvCxnSpPr>
              <p:spPr>
                <a:xfrm flipV="1">
                  <a:off x="3317968" y="1356065"/>
                  <a:ext cx="773469" cy="1153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" name="直接连接符 14"/>
                <p:cNvCxnSpPr>
                  <a:stCxn id="70" idx="3"/>
                  <a:endCxn id="63" idx="0"/>
                </p:cNvCxnSpPr>
                <p:nvPr/>
              </p:nvCxnSpPr>
              <p:spPr>
                <a:xfrm flipH="1">
                  <a:off x="5105248" y="5899217"/>
                  <a:ext cx="416814" cy="44150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" name="直接连接符 15"/>
                <p:cNvCxnSpPr>
                  <a:stCxn id="53" idx="6"/>
                </p:cNvCxnSpPr>
                <p:nvPr/>
              </p:nvCxnSpPr>
              <p:spPr>
                <a:xfrm flipV="1">
                  <a:off x="2705528" y="2545627"/>
                  <a:ext cx="576440" cy="19911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" name="直接连接符 16"/>
                <p:cNvCxnSpPr>
                  <a:stCxn id="65" idx="6"/>
                  <a:endCxn id="64" idx="2"/>
                </p:cNvCxnSpPr>
                <p:nvPr/>
              </p:nvCxnSpPr>
              <p:spPr>
                <a:xfrm>
                  <a:off x="3353968" y="2545627"/>
                  <a:ext cx="1286785" cy="300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" name="直接连接符 17"/>
                <p:cNvCxnSpPr>
                  <a:stCxn id="64" idx="0"/>
                  <a:endCxn id="67" idx="4"/>
                </p:cNvCxnSpPr>
                <p:nvPr/>
              </p:nvCxnSpPr>
              <p:spPr>
                <a:xfrm flipV="1">
                  <a:off x="4676753" y="1769223"/>
                  <a:ext cx="942765" cy="104045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" name="直接连接符 18"/>
                <p:cNvCxnSpPr>
                  <a:stCxn id="56" idx="7"/>
                  <a:endCxn id="65" idx="3"/>
                </p:cNvCxnSpPr>
                <p:nvPr/>
              </p:nvCxnSpPr>
              <p:spPr>
                <a:xfrm flipV="1">
                  <a:off x="2494504" y="2571083"/>
                  <a:ext cx="798008" cy="113989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" name="直接连接符 19"/>
                <p:cNvCxnSpPr>
                  <a:stCxn id="65" idx="5"/>
                  <a:endCxn id="69" idx="1"/>
                </p:cNvCxnSpPr>
                <p:nvPr/>
              </p:nvCxnSpPr>
              <p:spPr>
                <a:xfrm>
                  <a:off x="3343424" y="2571083"/>
                  <a:ext cx="899970" cy="10854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" name="直接连接符 20"/>
                <p:cNvCxnSpPr>
                  <a:stCxn id="67" idx="7"/>
                  <a:endCxn id="50" idx="3"/>
                </p:cNvCxnSpPr>
                <p:nvPr/>
              </p:nvCxnSpPr>
              <p:spPr>
                <a:xfrm flipV="1">
                  <a:off x="5644974" y="1345025"/>
                  <a:ext cx="455898" cy="36274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" name="直接连接符 21"/>
                <p:cNvCxnSpPr>
                  <a:stCxn id="67" idx="6"/>
                  <a:endCxn id="51" idx="2"/>
                </p:cNvCxnSpPr>
                <p:nvPr/>
              </p:nvCxnSpPr>
              <p:spPr>
                <a:xfrm>
                  <a:off x="5655518" y="1733223"/>
                  <a:ext cx="1259969" cy="1566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" name="直接连接符 22"/>
                <p:cNvCxnSpPr>
                  <a:stCxn id="65" idx="7"/>
                  <a:endCxn id="67" idx="3"/>
                </p:cNvCxnSpPr>
                <p:nvPr/>
              </p:nvCxnSpPr>
              <p:spPr>
                <a:xfrm flipV="1">
                  <a:off x="3343424" y="1758679"/>
                  <a:ext cx="2250638" cy="761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" name="直接连接符 23"/>
                <p:cNvCxnSpPr>
                  <a:stCxn id="67" idx="5"/>
                  <a:endCxn id="66" idx="1"/>
                </p:cNvCxnSpPr>
                <p:nvPr/>
              </p:nvCxnSpPr>
              <p:spPr>
                <a:xfrm>
                  <a:off x="5644974" y="1758679"/>
                  <a:ext cx="625293" cy="976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" name="直接连接符 24"/>
                <p:cNvCxnSpPr>
                  <a:stCxn id="64" idx="6"/>
                  <a:endCxn id="66" idx="2"/>
                </p:cNvCxnSpPr>
                <p:nvPr/>
              </p:nvCxnSpPr>
              <p:spPr>
                <a:xfrm flipV="1">
                  <a:off x="4712753" y="2760627"/>
                  <a:ext cx="1546970" cy="85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" name="直接连接符 25"/>
                <p:cNvCxnSpPr>
                  <a:stCxn id="66" idx="3"/>
                  <a:endCxn id="70" idx="0"/>
                </p:cNvCxnSpPr>
                <p:nvPr/>
              </p:nvCxnSpPr>
              <p:spPr>
                <a:xfrm flipH="1">
                  <a:off x="5547518" y="2786083"/>
                  <a:ext cx="722749" cy="30516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" name="直接连接符 26"/>
                <p:cNvCxnSpPr>
                  <a:stCxn id="66" idx="0"/>
                  <a:endCxn id="51" idx="3"/>
                </p:cNvCxnSpPr>
                <p:nvPr/>
              </p:nvCxnSpPr>
              <p:spPr>
                <a:xfrm flipV="1">
                  <a:off x="6295723" y="1915353"/>
                  <a:ext cx="630308" cy="8092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" name="直接连接符 27"/>
                <p:cNvCxnSpPr>
                  <a:stCxn id="66" idx="5"/>
                  <a:endCxn id="71" idx="1"/>
                </p:cNvCxnSpPr>
                <p:nvPr/>
              </p:nvCxnSpPr>
              <p:spPr>
                <a:xfrm>
                  <a:off x="6321179" y="2786083"/>
                  <a:ext cx="698920" cy="84162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" name="直接连接符 28"/>
                <p:cNvCxnSpPr>
                  <a:stCxn id="71" idx="0"/>
                  <a:endCxn id="51" idx="4"/>
                </p:cNvCxnSpPr>
                <p:nvPr/>
              </p:nvCxnSpPr>
              <p:spPr>
                <a:xfrm flipH="1" flipV="1">
                  <a:off x="6951487" y="1925897"/>
                  <a:ext cx="94068" cy="169127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0" name="直接连接符 29"/>
                <p:cNvCxnSpPr>
                  <a:stCxn id="71" idx="7"/>
                  <a:endCxn id="54" idx="3"/>
                </p:cNvCxnSpPr>
                <p:nvPr/>
              </p:nvCxnSpPr>
              <p:spPr>
                <a:xfrm flipV="1">
                  <a:off x="7071011" y="2770197"/>
                  <a:ext cx="436307" cy="8575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1" name="直接连接符 30"/>
                <p:cNvCxnSpPr>
                  <a:stCxn id="58" idx="1"/>
                  <a:endCxn id="71" idx="5"/>
                </p:cNvCxnSpPr>
                <p:nvPr/>
              </p:nvCxnSpPr>
              <p:spPr>
                <a:xfrm flipH="1" flipV="1">
                  <a:off x="7071011" y="3678624"/>
                  <a:ext cx="413447" cy="107405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" name="直接连接符 31"/>
                <p:cNvCxnSpPr>
                  <a:stCxn id="64" idx="4"/>
                  <a:endCxn id="70" idx="1"/>
                </p:cNvCxnSpPr>
                <p:nvPr/>
              </p:nvCxnSpPr>
              <p:spPr>
                <a:xfrm>
                  <a:off x="4676753" y="2881677"/>
                  <a:ext cx="845309" cy="296662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" name="直接连接符 32"/>
                <p:cNvCxnSpPr>
                  <a:stCxn id="69" idx="5"/>
                  <a:endCxn id="70" idx="1"/>
                </p:cNvCxnSpPr>
                <p:nvPr/>
              </p:nvCxnSpPr>
              <p:spPr>
                <a:xfrm>
                  <a:off x="4294306" y="3707469"/>
                  <a:ext cx="1227756" cy="214083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" name="直接连接符 33"/>
                <p:cNvCxnSpPr>
                  <a:stCxn id="56" idx="5"/>
                  <a:endCxn id="68" idx="1"/>
                </p:cNvCxnSpPr>
                <p:nvPr/>
              </p:nvCxnSpPr>
              <p:spPr>
                <a:xfrm>
                  <a:off x="2494504" y="3761893"/>
                  <a:ext cx="1006882" cy="126202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5" name="直接连接符 34"/>
                <p:cNvCxnSpPr>
                  <a:stCxn id="68" idx="7"/>
                  <a:endCxn id="69" idx="2"/>
                </p:cNvCxnSpPr>
                <p:nvPr/>
              </p:nvCxnSpPr>
              <p:spPr>
                <a:xfrm flipV="1">
                  <a:off x="3552298" y="3682013"/>
                  <a:ext cx="680552" cy="134190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6" name="直接连接符 35"/>
                <p:cNvCxnSpPr>
                  <a:stCxn id="68" idx="0"/>
                  <a:endCxn id="65" idx="4"/>
                </p:cNvCxnSpPr>
                <p:nvPr/>
              </p:nvCxnSpPr>
              <p:spPr>
                <a:xfrm flipH="1" flipV="1">
                  <a:off x="3317968" y="2581627"/>
                  <a:ext cx="208874" cy="243174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" name="直接连接符 36"/>
                <p:cNvCxnSpPr>
                  <a:stCxn id="65" idx="1"/>
                  <a:endCxn id="52" idx="4"/>
                </p:cNvCxnSpPr>
                <p:nvPr/>
              </p:nvCxnSpPr>
              <p:spPr>
                <a:xfrm flipH="1" flipV="1">
                  <a:off x="3245968" y="1921650"/>
                  <a:ext cx="46544" cy="59852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" name="直接连接符 37"/>
                <p:cNvCxnSpPr>
                  <a:stCxn id="59" idx="0"/>
                  <a:endCxn id="71" idx="4"/>
                </p:cNvCxnSpPr>
                <p:nvPr/>
              </p:nvCxnSpPr>
              <p:spPr>
                <a:xfrm flipV="1">
                  <a:off x="6960914" y="3689168"/>
                  <a:ext cx="84641" cy="188994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9" name="直接连接符 38"/>
                <p:cNvCxnSpPr>
                  <a:stCxn id="71" idx="3"/>
                  <a:endCxn id="70" idx="7"/>
                </p:cNvCxnSpPr>
                <p:nvPr/>
              </p:nvCxnSpPr>
              <p:spPr>
                <a:xfrm flipH="1">
                  <a:off x="5572974" y="3678624"/>
                  <a:ext cx="1447125" cy="216968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0" name="直接连接符 39"/>
                <p:cNvCxnSpPr>
                  <a:stCxn id="70" idx="6"/>
                  <a:endCxn id="59" idx="2"/>
                </p:cNvCxnSpPr>
                <p:nvPr/>
              </p:nvCxnSpPr>
              <p:spPr>
                <a:xfrm flipV="1">
                  <a:off x="5583518" y="5615109"/>
                  <a:ext cx="1341396" cy="25865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1" name="直接连接符 40"/>
                <p:cNvCxnSpPr>
                  <a:stCxn id="70" idx="5"/>
                  <a:endCxn id="62" idx="1"/>
                </p:cNvCxnSpPr>
                <p:nvPr/>
              </p:nvCxnSpPr>
              <p:spPr>
                <a:xfrm>
                  <a:off x="5572974" y="5899217"/>
                  <a:ext cx="527898" cy="2444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2" name="直接连接符 41"/>
                <p:cNvCxnSpPr>
                  <a:stCxn id="69" idx="0"/>
                  <a:endCxn id="64" idx="3"/>
                </p:cNvCxnSpPr>
                <p:nvPr/>
              </p:nvCxnSpPr>
              <p:spPr>
                <a:xfrm flipV="1">
                  <a:off x="4268850" y="2871133"/>
                  <a:ext cx="382447" cy="77488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3" name="直接连接符 42"/>
                <p:cNvCxnSpPr>
                  <a:stCxn id="68" idx="6"/>
                  <a:endCxn id="70" idx="2"/>
                </p:cNvCxnSpPr>
                <p:nvPr/>
              </p:nvCxnSpPr>
              <p:spPr>
                <a:xfrm>
                  <a:off x="3562842" y="5049372"/>
                  <a:ext cx="1948676" cy="82438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4" name="直接连接符 43"/>
                <p:cNvCxnSpPr>
                  <a:stCxn id="57" idx="6"/>
                  <a:endCxn id="68" idx="2"/>
                </p:cNvCxnSpPr>
                <p:nvPr/>
              </p:nvCxnSpPr>
              <p:spPr>
                <a:xfrm>
                  <a:off x="2723516" y="4804810"/>
                  <a:ext cx="767326" cy="244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5" name="直接连接符 44"/>
                <p:cNvCxnSpPr>
                  <a:stCxn id="60" idx="7"/>
                  <a:endCxn id="68" idx="3"/>
                </p:cNvCxnSpPr>
                <p:nvPr/>
              </p:nvCxnSpPr>
              <p:spPr>
                <a:xfrm flipV="1">
                  <a:off x="3271424" y="5074828"/>
                  <a:ext cx="229962" cy="5105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6" name="直接连接符 45"/>
                <p:cNvCxnSpPr>
                  <a:stCxn id="61" idx="0"/>
                  <a:endCxn id="68" idx="5"/>
                </p:cNvCxnSpPr>
                <p:nvPr/>
              </p:nvCxnSpPr>
              <p:spPr>
                <a:xfrm flipH="1" flipV="1">
                  <a:off x="3552298" y="5074828"/>
                  <a:ext cx="539139" cy="105875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7" name="直接连接符 46"/>
                <p:cNvCxnSpPr>
                  <a:stCxn id="61" idx="7"/>
                  <a:endCxn id="70" idx="2"/>
                </p:cNvCxnSpPr>
                <p:nvPr/>
              </p:nvCxnSpPr>
              <p:spPr>
                <a:xfrm flipV="1">
                  <a:off x="4116893" y="5873761"/>
                  <a:ext cx="1394625" cy="270367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6" name="文本框 5"/>
            <p:cNvSpPr txBox="1"/>
            <p:nvPr/>
          </p:nvSpPr>
          <p:spPr>
            <a:xfrm>
              <a:off x="6610899" y="1009427"/>
              <a:ext cx="1107126" cy="10112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200" b="1" dirty="0">
                  <a:solidFill>
                    <a:schemeClr val="bg1"/>
                  </a:solidFill>
                  <a:latin typeface="方正兰亭粗黑简体" panose="02000000000000000000" pitchFamily="2" charset="-122"/>
                  <a:ea typeface="方正兰亭粗黑简体" panose="02000000000000000000" pitchFamily="2" charset="-122"/>
                </a:rPr>
                <a:t>1</a:t>
              </a:r>
              <a:endParaRPr lang="en-US" altLang="zh-CN" sz="825" b="1" dirty="0">
                <a:solidFill>
                  <a:schemeClr val="bg1"/>
                </a:solidFill>
                <a:latin typeface="方正兰亭粗黑简体" panose="02000000000000000000" pitchFamily="2" charset="-122"/>
                <a:ea typeface="方正兰亭粗黑简体" panose="02000000000000000000" pitchFamily="2" charset="-122"/>
              </a:endParaRPr>
            </a:p>
          </p:txBody>
        </p:sp>
        <p:sp>
          <p:nvSpPr>
            <p:cNvPr id="7" name="弧形 6"/>
            <p:cNvSpPr/>
            <p:nvPr/>
          </p:nvSpPr>
          <p:spPr>
            <a:xfrm rot="20705087">
              <a:off x="5896029" y="1413987"/>
              <a:ext cx="2542304" cy="475742"/>
            </a:xfrm>
            <a:prstGeom prst="arc">
              <a:avLst>
                <a:gd name="adj1" fmla="val 20946925"/>
                <a:gd name="adj2" fmla="val 11464655"/>
              </a:avLst>
            </a:prstGeom>
            <a:ln w="19050">
              <a:solidFill>
                <a:srgbClr val="9D819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</p:grpSp>
      <p:sp>
        <p:nvSpPr>
          <p:cNvPr id="72" name="文本框 71"/>
          <p:cNvSpPr txBox="1"/>
          <p:nvPr/>
        </p:nvSpPr>
        <p:spPr>
          <a:xfrm>
            <a:off x="1041984" y="517240"/>
            <a:ext cx="2104064" cy="4589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选题原因</a:t>
            </a:r>
            <a:endParaRPr lang="en-US" altLang="zh-CN" sz="75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3" name="Teardrop 7"/>
          <p:cNvSpPr/>
          <p:nvPr/>
        </p:nvSpPr>
        <p:spPr>
          <a:xfrm rot="16200000">
            <a:off x="2395692" y="2686196"/>
            <a:ext cx="1466702" cy="1466703"/>
          </a:xfrm>
          <a:prstGeom prst="teardrop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27000" tIns="27000" rIns="81000" bIns="34290" rtlCol="0" anchor="ctr"/>
          <a:lstStyle/>
          <a:p>
            <a:pPr algn="ctr"/>
            <a:endParaRPr lang="th-TH" sz="2700" dirty="0"/>
          </a:p>
        </p:txBody>
      </p:sp>
      <p:sp>
        <p:nvSpPr>
          <p:cNvPr id="74" name="Teardrop 10"/>
          <p:cNvSpPr/>
          <p:nvPr/>
        </p:nvSpPr>
        <p:spPr>
          <a:xfrm rot="10800000">
            <a:off x="2395691" y="1590892"/>
            <a:ext cx="1043633" cy="1043633"/>
          </a:xfrm>
          <a:prstGeom prst="teardrop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68580" tIns="27000" rIns="27000" bIns="34290" rtlCol="0" anchor="ctr"/>
          <a:lstStyle/>
          <a:p>
            <a:pPr algn="ctr"/>
            <a:endParaRPr lang="th-TH" sz="3000" dirty="0"/>
          </a:p>
        </p:txBody>
      </p:sp>
      <p:sp>
        <p:nvSpPr>
          <p:cNvPr id="75" name="Teardrop 6"/>
          <p:cNvSpPr/>
          <p:nvPr/>
        </p:nvSpPr>
        <p:spPr>
          <a:xfrm>
            <a:off x="1301071" y="2686196"/>
            <a:ext cx="1043633" cy="1043633"/>
          </a:xfrm>
          <a:prstGeom prst="teardrop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54000" rIns="81000" bIns="34290" rtlCol="0" anchor="ctr"/>
          <a:lstStyle/>
          <a:p>
            <a:pPr algn="ctr"/>
            <a:endParaRPr lang="th-TH" sz="2700" dirty="0"/>
          </a:p>
        </p:txBody>
      </p:sp>
      <p:sp>
        <p:nvSpPr>
          <p:cNvPr id="76" name="Teardrop 8"/>
          <p:cNvSpPr/>
          <p:nvPr/>
        </p:nvSpPr>
        <p:spPr>
          <a:xfrm rot="5400000">
            <a:off x="1295401" y="1601419"/>
            <a:ext cx="1043633" cy="1043633"/>
          </a:xfrm>
          <a:prstGeom prst="teardrop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81000" tIns="27000" rIns="0" bIns="34290" rtlCol="0" anchor="ctr"/>
          <a:lstStyle/>
          <a:p>
            <a:pPr algn="ctr"/>
            <a:endParaRPr lang="th-TH" sz="2700" dirty="0"/>
          </a:p>
        </p:txBody>
      </p:sp>
      <p:sp>
        <p:nvSpPr>
          <p:cNvPr id="77" name="Freeform 52"/>
          <p:cNvSpPr>
            <a:spLocks noEditPoints="1"/>
          </p:cNvSpPr>
          <p:nvPr/>
        </p:nvSpPr>
        <p:spPr bwMode="auto">
          <a:xfrm>
            <a:off x="1608492" y="2950159"/>
            <a:ext cx="428789" cy="461315"/>
          </a:xfrm>
          <a:custGeom>
            <a:avLst/>
            <a:gdLst/>
            <a:ahLst/>
            <a:cxnLst>
              <a:cxn ang="0">
                <a:pos x="67" y="67"/>
              </a:cxn>
              <a:cxn ang="0">
                <a:pos x="61" y="72"/>
              </a:cxn>
              <a:cxn ang="0">
                <a:pos x="5" y="72"/>
              </a:cxn>
              <a:cxn ang="0">
                <a:pos x="0" y="67"/>
              </a:cxn>
              <a:cxn ang="0">
                <a:pos x="0" y="16"/>
              </a:cxn>
              <a:cxn ang="0">
                <a:pos x="5" y="11"/>
              </a:cxn>
              <a:cxn ang="0">
                <a:pos x="10" y="11"/>
              </a:cxn>
              <a:cxn ang="0">
                <a:pos x="10" y="7"/>
              </a:cxn>
              <a:cxn ang="0">
                <a:pos x="16" y="0"/>
              </a:cxn>
              <a:cxn ang="0">
                <a:pos x="19" y="0"/>
              </a:cxn>
              <a:cxn ang="0">
                <a:pos x="25" y="7"/>
              </a:cxn>
              <a:cxn ang="0">
                <a:pos x="25" y="11"/>
              </a:cxn>
              <a:cxn ang="0">
                <a:pos x="41" y="11"/>
              </a:cxn>
              <a:cxn ang="0">
                <a:pos x="41" y="7"/>
              </a:cxn>
              <a:cxn ang="0">
                <a:pos x="47" y="0"/>
              </a:cxn>
              <a:cxn ang="0">
                <a:pos x="50" y="0"/>
              </a:cxn>
              <a:cxn ang="0">
                <a:pos x="56" y="7"/>
              </a:cxn>
              <a:cxn ang="0">
                <a:pos x="56" y="11"/>
              </a:cxn>
              <a:cxn ang="0">
                <a:pos x="61" y="11"/>
              </a:cxn>
              <a:cxn ang="0">
                <a:pos x="67" y="16"/>
              </a:cxn>
              <a:cxn ang="0">
                <a:pos x="67" y="67"/>
              </a:cxn>
              <a:cxn ang="0">
                <a:pos x="61" y="67"/>
              </a:cxn>
              <a:cxn ang="0">
                <a:pos x="61" y="26"/>
              </a:cxn>
              <a:cxn ang="0">
                <a:pos x="5" y="26"/>
              </a:cxn>
              <a:cxn ang="0">
                <a:pos x="5" y="67"/>
              </a:cxn>
              <a:cxn ang="0">
                <a:pos x="61" y="67"/>
              </a:cxn>
              <a:cxn ang="0">
                <a:pos x="20" y="7"/>
              </a:cxn>
              <a:cxn ang="0">
                <a:pos x="19" y="5"/>
              </a:cxn>
              <a:cxn ang="0">
                <a:pos x="16" y="5"/>
              </a:cxn>
              <a:cxn ang="0">
                <a:pos x="15" y="7"/>
              </a:cxn>
              <a:cxn ang="0">
                <a:pos x="15" y="18"/>
              </a:cxn>
              <a:cxn ang="0">
                <a:pos x="16" y="20"/>
              </a:cxn>
              <a:cxn ang="0">
                <a:pos x="19" y="20"/>
              </a:cxn>
              <a:cxn ang="0">
                <a:pos x="20" y="18"/>
              </a:cxn>
              <a:cxn ang="0">
                <a:pos x="20" y="7"/>
              </a:cxn>
              <a:cxn ang="0">
                <a:pos x="51" y="7"/>
              </a:cxn>
              <a:cxn ang="0">
                <a:pos x="50" y="5"/>
              </a:cxn>
              <a:cxn ang="0">
                <a:pos x="47" y="5"/>
              </a:cxn>
              <a:cxn ang="0">
                <a:pos x="46" y="7"/>
              </a:cxn>
              <a:cxn ang="0">
                <a:pos x="46" y="18"/>
              </a:cxn>
              <a:cxn ang="0">
                <a:pos x="47" y="20"/>
              </a:cxn>
              <a:cxn ang="0">
                <a:pos x="50" y="20"/>
              </a:cxn>
              <a:cxn ang="0">
                <a:pos x="51" y="18"/>
              </a:cxn>
              <a:cxn ang="0">
                <a:pos x="51" y="7"/>
              </a:cxn>
            </a:cxnLst>
            <a:rect l="0" t="0" r="r" b="b"/>
            <a:pathLst>
              <a:path w="67" h="72">
                <a:moveTo>
                  <a:pt x="67" y="67"/>
                </a:moveTo>
                <a:cubicBezTo>
                  <a:pt x="67" y="70"/>
                  <a:pt x="64" y="72"/>
                  <a:pt x="61" y="72"/>
                </a:cubicBezTo>
                <a:cubicBezTo>
                  <a:pt x="5" y="72"/>
                  <a:pt x="5" y="72"/>
                  <a:pt x="5" y="72"/>
                </a:cubicBezTo>
                <a:cubicBezTo>
                  <a:pt x="2" y="72"/>
                  <a:pt x="0" y="70"/>
                  <a:pt x="0" y="67"/>
                </a:cubicBezTo>
                <a:cubicBezTo>
                  <a:pt x="0" y="16"/>
                  <a:pt x="0" y="16"/>
                  <a:pt x="0" y="16"/>
                </a:cubicBezTo>
                <a:cubicBezTo>
                  <a:pt x="0" y="13"/>
                  <a:pt x="2" y="11"/>
                  <a:pt x="5" y="11"/>
                </a:cubicBezTo>
                <a:cubicBezTo>
                  <a:pt x="10" y="11"/>
                  <a:pt x="10" y="11"/>
                  <a:pt x="10" y="11"/>
                </a:cubicBezTo>
                <a:cubicBezTo>
                  <a:pt x="10" y="7"/>
                  <a:pt x="10" y="7"/>
                  <a:pt x="10" y="7"/>
                </a:cubicBezTo>
                <a:cubicBezTo>
                  <a:pt x="10" y="3"/>
                  <a:pt x="13" y="0"/>
                  <a:pt x="16" y="0"/>
                </a:cubicBezTo>
                <a:cubicBezTo>
                  <a:pt x="19" y="0"/>
                  <a:pt x="19" y="0"/>
                  <a:pt x="19" y="0"/>
                </a:cubicBezTo>
                <a:cubicBezTo>
                  <a:pt x="23" y="0"/>
                  <a:pt x="25" y="3"/>
                  <a:pt x="25" y="7"/>
                </a:cubicBezTo>
                <a:cubicBezTo>
                  <a:pt x="25" y="11"/>
                  <a:pt x="25" y="11"/>
                  <a:pt x="25" y="11"/>
                </a:cubicBezTo>
                <a:cubicBezTo>
                  <a:pt x="41" y="11"/>
                  <a:pt x="41" y="11"/>
                  <a:pt x="41" y="11"/>
                </a:cubicBezTo>
                <a:cubicBezTo>
                  <a:pt x="41" y="7"/>
                  <a:pt x="41" y="7"/>
                  <a:pt x="41" y="7"/>
                </a:cubicBezTo>
                <a:cubicBezTo>
                  <a:pt x="41" y="3"/>
                  <a:pt x="44" y="0"/>
                  <a:pt x="47" y="0"/>
                </a:cubicBezTo>
                <a:cubicBezTo>
                  <a:pt x="50" y="0"/>
                  <a:pt x="50" y="0"/>
                  <a:pt x="50" y="0"/>
                </a:cubicBezTo>
                <a:cubicBezTo>
                  <a:pt x="53" y="0"/>
                  <a:pt x="56" y="3"/>
                  <a:pt x="56" y="7"/>
                </a:cubicBezTo>
                <a:cubicBezTo>
                  <a:pt x="56" y="11"/>
                  <a:pt x="56" y="11"/>
                  <a:pt x="56" y="11"/>
                </a:cubicBezTo>
                <a:cubicBezTo>
                  <a:pt x="61" y="11"/>
                  <a:pt x="61" y="11"/>
                  <a:pt x="61" y="11"/>
                </a:cubicBezTo>
                <a:cubicBezTo>
                  <a:pt x="64" y="11"/>
                  <a:pt x="67" y="13"/>
                  <a:pt x="67" y="16"/>
                </a:cubicBezTo>
                <a:lnTo>
                  <a:pt x="67" y="67"/>
                </a:lnTo>
                <a:close/>
                <a:moveTo>
                  <a:pt x="61" y="67"/>
                </a:moveTo>
                <a:cubicBezTo>
                  <a:pt x="61" y="26"/>
                  <a:pt x="61" y="26"/>
                  <a:pt x="61" y="26"/>
                </a:cubicBezTo>
                <a:cubicBezTo>
                  <a:pt x="5" y="26"/>
                  <a:pt x="5" y="26"/>
                  <a:pt x="5" y="26"/>
                </a:cubicBezTo>
                <a:cubicBezTo>
                  <a:pt x="5" y="67"/>
                  <a:pt x="5" y="67"/>
                  <a:pt x="5" y="67"/>
                </a:cubicBezTo>
                <a:lnTo>
                  <a:pt x="61" y="67"/>
                </a:lnTo>
                <a:close/>
                <a:moveTo>
                  <a:pt x="20" y="7"/>
                </a:moveTo>
                <a:cubicBezTo>
                  <a:pt x="20" y="6"/>
                  <a:pt x="20" y="5"/>
                  <a:pt x="19" y="5"/>
                </a:cubicBezTo>
                <a:cubicBezTo>
                  <a:pt x="16" y="5"/>
                  <a:pt x="16" y="5"/>
                  <a:pt x="16" y="5"/>
                </a:cubicBezTo>
                <a:cubicBezTo>
                  <a:pt x="16" y="5"/>
                  <a:pt x="15" y="6"/>
                  <a:pt x="15" y="7"/>
                </a:cubicBezTo>
                <a:cubicBezTo>
                  <a:pt x="15" y="18"/>
                  <a:pt x="15" y="18"/>
                  <a:pt x="15" y="18"/>
                </a:cubicBezTo>
                <a:cubicBezTo>
                  <a:pt x="15" y="19"/>
                  <a:pt x="16" y="20"/>
                  <a:pt x="16" y="20"/>
                </a:cubicBezTo>
                <a:cubicBezTo>
                  <a:pt x="19" y="20"/>
                  <a:pt x="19" y="20"/>
                  <a:pt x="19" y="20"/>
                </a:cubicBezTo>
                <a:cubicBezTo>
                  <a:pt x="20" y="20"/>
                  <a:pt x="20" y="19"/>
                  <a:pt x="20" y="18"/>
                </a:cubicBezTo>
                <a:lnTo>
                  <a:pt x="20" y="7"/>
                </a:lnTo>
                <a:close/>
                <a:moveTo>
                  <a:pt x="51" y="7"/>
                </a:moveTo>
                <a:cubicBezTo>
                  <a:pt x="51" y="6"/>
                  <a:pt x="51" y="5"/>
                  <a:pt x="50" y="5"/>
                </a:cubicBezTo>
                <a:cubicBezTo>
                  <a:pt x="47" y="5"/>
                  <a:pt x="47" y="5"/>
                  <a:pt x="47" y="5"/>
                </a:cubicBezTo>
                <a:cubicBezTo>
                  <a:pt x="47" y="5"/>
                  <a:pt x="46" y="6"/>
                  <a:pt x="46" y="7"/>
                </a:cubicBezTo>
                <a:cubicBezTo>
                  <a:pt x="46" y="18"/>
                  <a:pt x="46" y="18"/>
                  <a:pt x="46" y="18"/>
                </a:cubicBezTo>
                <a:cubicBezTo>
                  <a:pt x="46" y="19"/>
                  <a:pt x="47" y="20"/>
                  <a:pt x="47" y="20"/>
                </a:cubicBezTo>
                <a:cubicBezTo>
                  <a:pt x="50" y="20"/>
                  <a:pt x="50" y="20"/>
                  <a:pt x="50" y="20"/>
                </a:cubicBezTo>
                <a:cubicBezTo>
                  <a:pt x="51" y="20"/>
                  <a:pt x="51" y="19"/>
                  <a:pt x="51" y="18"/>
                </a:cubicBezTo>
                <a:lnTo>
                  <a:pt x="51" y="7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" name="Freeform 42"/>
          <p:cNvSpPr>
            <a:spLocks noEditPoints="1"/>
          </p:cNvSpPr>
          <p:nvPr/>
        </p:nvSpPr>
        <p:spPr bwMode="auto">
          <a:xfrm>
            <a:off x="2895427" y="3180817"/>
            <a:ext cx="467231" cy="402173"/>
          </a:xfrm>
          <a:custGeom>
            <a:avLst/>
            <a:gdLst/>
            <a:ahLst/>
            <a:cxnLst>
              <a:cxn ang="0">
                <a:pos x="73" y="47"/>
              </a:cxn>
              <a:cxn ang="0">
                <a:pos x="67" y="53"/>
              </a:cxn>
              <a:cxn ang="0">
                <a:pos x="46" y="53"/>
              </a:cxn>
              <a:cxn ang="0">
                <a:pos x="48" y="60"/>
              </a:cxn>
              <a:cxn ang="0">
                <a:pos x="46" y="63"/>
              </a:cxn>
              <a:cxn ang="0">
                <a:pos x="26" y="63"/>
              </a:cxn>
              <a:cxn ang="0">
                <a:pos x="24" y="60"/>
              </a:cxn>
              <a:cxn ang="0">
                <a:pos x="26" y="53"/>
              </a:cxn>
              <a:cxn ang="0">
                <a:pos x="6" y="53"/>
              </a:cxn>
              <a:cxn ang="0">
                <a:pos x="0" y="47"/>
              </a:cxn>
              <a:cxn ang="0">
                <a:pos x="0" y="6"/>
              </a:cxn>
              <a:cxn ang="0">
                <a:pos x="6" y="0"/>
              </a:cxn>
              <a:cxn ang="0">
                <a:pos x="67" y="0"/>
              </a:cxn>
              <a:cxn ang="0">
                <a:pos x="73" y="6"/>
              </a:cxn>
              <a:cxn ang="0">
                <a:pos x="73" y="47"/>
              </a:cxn>
              <a:cxn ang="0">
                <a:pos x="68" y="6"/>
              </a:cxn>
              <a:cxn ang="0">
                <a:pos x="67" y="5"/>
              </a:cxn>
              <a:cxn ang="0">
                <a:pos x="6" y="5"/>
              </a:cxn>
              <a:cxn ang="0">
                <a:pos x="5" y="6"/>
              </a:cxn>
              <a:cxn ang="0">
                <a:pos x="5" y="37"/>
              </a:cxn>
              <a:cxn ang="0">
                <a:pos x="6" y="39"/>
              </a:cxn>
              <a:cxn ang="0">
                <a:pos x="67" y="39"/>
              </a:cxn>
              <a:cxn ang="0">
                <a:pos x="68" y="37"/>
              </a:cxn>
              <a:cxn ang="0">
                <a:pos x="68" y="6"/>
              </a:cxn>
            </a:cxnLst>
            <a:rect l="0" t="0" r="r" b="b"/>
            <a:pathLst>
              <a:path w="73" h="63">
                <a:moveTo>
                  <a:pt x="73" y="47"/>
                </a:moveTo>
                <a:cubicBezTo>
                  <a:pt x="73" y="50"/>
                  <a:pt x="70" y="53"/>
                  <a:pt x="67" y="53"/>
                </a:cubicBezTo>
                <a:cubicBezTo>
                  <a:pt x="46" y="53"/>
                  <a:pt x="46" y="53"/>
                  <a:pt x="46" y="53"/>
                </a:cubicBezTo>
                <a:cubicBezTo>
                  <a:pt x="46" y="56"/>
                  <a:pt x="48" y="59"/>
                  <a:pt x="48" y="60"/>
                </a:cubicBezTo>
                <a:cubicBezTo>
                  <a:pt x="48" y="62"/>
                  <a:pt x="47" y="63"/>
                  <a:pt x="46" y="63"/>
                </a:cubicBezTo>
                <a:cubicBezTo>
                  <a:pt x="26" y="63"/>
                  <a:pt x="26" y="63"/>
                  <a:pt x="26" y="63"/>
                </a:cubicBezTo>
                <a:cubicBezTo>
                  <a:pt x="25" y="63"/>
                  <a:pt x="24" y="62"/>
                  <a:pt x="24" y="60"/>
                </a:cubicBezTo>
                <a:cubicBezTo>
                  <a:pt x="24" y="59"/>
                  <a:pt x="26" y="56"/>
                  <a:pt x="26" y="53"/>
                </a:cubicBezTo>
                <a:cubicBezTo>
                  <a:pt x="6" y="53"/>
                  <a:pt x="6" y="53"/>
                  <a:pt x="6" y="53"/>
                </a:cubicBezTo>
                <a:cubicBezTo>
                  <a:pt x="2" y="53"/>
                  <a:pt x="0" y="50"/>
                  <a:pt x="0" y="47"/>
                </a:cubicBezTo>
                <a:cubicBezTo>
                  <a:pt x="0" y="6"/>
                  <a:pt x="0" y="6"/>
                  <a:pt x="0" y="6"/>
                </a:cubicBezTo>
                <a:cubicBezTo>
                  <a:pt x="0" y="2"/>
                  <a:pt x="2" y="0"/>
                  <a:pt x="6" y="0"/>
                </a:cubicBezTo>
                <a:cubicBezTo>
                  <a:pt x="67" y="0"/>
                  <a:pt x="67" y="0"/>
                  <a:pt x="67" y="0"/>
                </a:cubicBezTo>
                <a:cubicBezTo>
                  <a:pt x="70" y="0"/>
                  <a:pt x="73" y="2"/>
                  <a:pt x="73" y="6"/>
                </a:cubicBezTo>
                <a:lnTo>
                  <a:pt x="73" y="47"/>
                </a:lnTo>
                <a:close/>
                <a:moveTo>
                  <a:pt x="68" y="6"/>
                </a:moveTo>
                <a:cubicBezTo>
                  <a:pt x="68" y="5"/>
                  <a:pt x="67" y="5"/>
                  <a:pt x="67" y="5"/>
                </a:cubicBezTo>
                <a:cubicBezTo>
                  <a:pt x="6" y="5"/>
                  <a:pt x="6" y="5"/>
                  <a:pt x="6" y="5"/>
                </a:cubicBezTo>
                <a:cubicBezTo>
                  <a:pt x="5" y="5"/>
                  <a:pt x="5" y="5"/>
                  <a:pt x="5" y="6"/>
                </a:cubicBezTo>
                <a:cubicBezTo>
                  <a:pt x="5" y="37"/>
                  <a:pt x="5" y="37"/>
                  <a:pt x="5" y="37"/>
                </a:cubicBezTo>
                <a:cubicBezTo>
                  <a:pt x="5" y="38"/>
                  <a:pt x="5" y="39"/>
                  <a:pt x="6" y="39"/>
                </a:cubicBezTo>
                <a:cubicBezTo>
                  <a:pt x="67" y="39"/>
                  <a:pt x="67" y="39"/>
                  <a:pt x="67" y="39"/>
                </a:cubicBezTo>
                <a:cubicBezTo>
                  <a:pt x="67" y="39"/>
                  <a:pt x="68" y="38"/>
                  <a:pt x="68" y="37"/>
                </a:cubicBezTo>
                <a:lnTo>
                  <a:pt x="68" y="6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" name="Freeform 178"/>
          <p:cNvSpPr>
            <a:spLocks noEditPoints="1"/>
          </p:cNvSpPr>
          <p:nvPr/>
        </p:nvSpPr>
        <p:spPr bwMode="auto">
          <a:xfrm>
            <a:off x="2683891" y="1947284"/>
            <a:ext cx="467231" cy="351902"/>
          </a:xfrm>
          <a:custGeom>
            <a:avLst/>
            <a:gdLst/>
            <a:ahLst/>
            <a:cxnLst>
              <a:cxn ang="0">
                <a:pos x="158" y="119"/>
              </a:cxn>
              <a:cxn ang="0">
                <a:pos x="0" y="119"/>
              </a:cxn>
              <a:cxn ang="0">
                <a:pos x="0" y="0"/>
              </a:cxn>
              <a:cxn ang="0">
                <a:pos x="9" y="0"/>
              </a:cxn>
              <a:cxn ang="0">
                <a:pos x="9" y="108"/>
              </a:cxn>
              <a:cxn ang="0">
                <a:pos x="158" y="108"/>
              </a:cxn>
              <a:cxn ang="0">
                <a:pos x="158" y="119"/>
              </a:cxn>
              <a:cxn ang="0">
                <a:pos x="50" y="99"/>
              </a:cxn>
              <a:cxn ang="0">
                <a:pos x="29" y="99"/>
              </a:cxn>
              <a:cxn ang="0">
                <a:pos x="29" y="60"/>
              </a:cxn>
              <a:cxn ang="0">
                <a:pos x="50" y="60"/>
              </a:cxn>
              <a:cxn ang="0">
                <a:pos x="50" y="99"/>
              </a:cxn>
              <a:cxn ang="0">
                <a:pos x="78" y="99"/>
              </a:cxn>
              <a:cxn ang="0">
                <a:pos x="59" y="99"/>
              </a:cxn>
              <a:cxn ang="0">
                <a:pos x="59" y="19"/>
              </a:cxn>
              <a:cxn ang="0">
                <a:pos x="78" y="19"/>
              </a:cxn>
              <a:cxn ang="0">
                <a:pos x="78" y="99"/>
              </a:cxn>
              <a:cxn ang="0">
                <a:pos x="109" y="99"/>
              </a:cxn>
              <a:cxn ang="0">
                <a:pos x="89" y="99"/>
              </a:cxn>
              <a:cxn ang="0">
                <a:pos x="89" y="39"/>
              </a:cxn>
              <a:cxn ang="0">
                <a:pos x="109" y="39"/>
              </a:cxn>
              <a:cxn ang="0">
                <a:pos x="109" y="99"/>
              </a:cxn>
              <a:cxn ang="0">
                <a:pos x="139" y="99"/>
              </a:cxn>
              <a:cxn ang="0">
                <a:pos x="119" y="99"/>
              </a:cxn>
              <a:cxn ang="0">
                <a:pos x="119" y="11"/>
              </a:cxn>
              <a:cxn ang="0">
                <a:pos x="139" y="11"/>
              </a:cxn>
              <a:cxn ang="0">
                <a:pos x="139" y="99"/>
              </a:cxn>
            </a:cxnLst>
            <a:rect l="0" t="0" r="r" b="b"/>
            <a:pathLst>
              <a:path w="158" h="119">
                <a:moveTo>
                  <a:pt x="158" y="119"/>
                </a:moveTo>
                <a:lnTo>
                  <a:pt x="0" y="119"/>
                </a:lnTo>
                <a:lnTo>
                  <a:pt x="0" y="0"/>
                </a:lnTo>
                <a:lnTo>
                  <a:pt x="9" y="0"/>
                </a:lnTo>
                <a:lnTo>
                  <a:pt x="9" y="108"/>
                </a:lnTo>
                <a:lnTo>
                  <a:pt x="158" y="108"/>
                </a:lnTo>
                <a:lnTo>
                  <a:pt x="158" y="119"/>
                </a:lnTo>
                <a:close/>
                <a:moveTo>
                  <a:pt x="50" y="99"/>
                </a:moveTo>
                <a:lnTo>
                  <a:pt x="29" y="99"/>
                </a:lnTo>
                <a:lnTo>
                  <a:pt x="29" y="60"/>
                </a:lnTo>
                <a:lnTo>
                  <a:pt x="50" y="60"/>
                </a:lnTo>
                <a:lnTo>
                  <a:pt x="50" y="99"/>
                </a:lnTo>
                <a:close/>
                <a:moveTo>
                  <a:pt x="78" y="99"/>
                </a:moveTo>
                <a:lnTo>
                  <a:pt x="59" y="99"/>
                </a:lnTo>
                <a:lnTo>
                  <a:pt x="59" y="19"/>
                </a:lnTo>
                <a:lnTo>
                  <a:pt x="78" y="19"/>
                </a:lnTo>
                <a:lnTo>
                  <a:pt x="78" y="99"/>
                </a:lnTo>
                <a:close/>
                <a:moveTo>
                  <a:pt x="109" y="99"/>
                </a:moveTo>
                <a:lnTo>
                  <a:pt x="89" y="99"/>
                </a:lnTo>
                <a:lnTo>
                  <a:pt x="89" y="39"/>
                </a:lnTo>
                <a:lnTo>
                  <a:pt x="109" y="39"/>
                </a:lnTo>
                <a:lnTo>
                  <a:pt x="109" y="99"/>
                </a:lnTo>
                <a:close/>
                <a:moveTo>
                  <a:pt x="139" y="99"/>
                </a:moveTo>
                <a:lnTo>
                  <a:pt x="119" y="99"/>
                </a:lnTo>
                <a:lnTo>
                  <a:pt x="119" y="11"/>
                </a:lnTo>
                <a:lnTo>
                  <a:pt x="139" y="11"/>
                </a:lnTo>
                <a:lnTo>
                  <a:pt x="139" y="9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" name="Freeform 86"/>
          <p:cNvSpPr>
            <a:spLocks noEditPoints="1"/>
          </p:cNvSpPr>
          <p:nvPr/>
        </p:nvSpPr>
        <p:spPr bwMode="auto">
          <a:xfrm>
            <a:off x="1662902" y="1875829"/>
            <a:ext cx="319968" cy="538355"/>
          </a:xfrm>
          <a:custGeom>
            <a:avLst/>
            <a:gdLst/>
            <a:ahLst/>
            <a:cxnLst>
              <a:cxn ang="0">
                <a:pos x="29" y="44"/>
              </a:cxn>
              <a:cxn ang="0">
                <a:pos x="24" y="49"/>
              </a:cxn>
              <a:cxn ang="0">
                <a:pos x="5" y="49"/>
              </a:cxn>
              <a:cxn ang="0">
                <a:pos x="0" y="44"/>
              </a:cxn>
              <a:cxn ang="0">
                <a:pos x="0" y="5"/>
              </a:cxn>
              <a:cxn ang="0">
                <a:pos x="5" y="0"/>
              </a:cxn>
              <a:cxn ang="0">
                <a:pos x="24" y="0"/>
              </a:cxn>
              <a:cxn ang="0">
                <a:pos x="29" y="5"/>
              </a:cxn>
              <a:cxn ang="0">
                <a:pos x="29" y="44"/>
              </a:cxn>
              <a:cxn ang="0">
                <a:pos x="25" y="11"/>
              </a:cxn>
              <a:cxn ang="0">
                <a:pos x="24" y="10"/>
              </a:cxn>
              <a:cxn ang="0">
                <a:pos x="5" y="10"/>
              </a:cxn>
              <a:cxn ang="0">
                <a:pos x="3" y="11"/>
              </a:cxn>
              <a:cxn ang="0">
                <a:pos x="3" y="38"/>
              </a:cxn>
              <a:cxn ang="0">
                <a:pos x="5" y="39"/>
              </a:cxn>
              <a:cxn ang="0">
                <a:pos x="24" y="39"/>
              </a:cxn>
              <a:cxn ang="0">
                <a:pos x="25" y="38"/>
              </a:cxn>
              <a:cxn ang="0">
                <a:pos x="25" y="11"/>
              </a:cxn>
              <a:cxn ang="0">
                <a:pos x="17" y="5"/>
              </a:cxn>
              <a:cxn ang="0">
                <a:pos x="11" y="5"/>
              </a:cxn>
              <a:cxn ang="0">
                <a:pos x="11" y="6"/>
              </a:cxn>
              <a:cxn ang="0">
                <a:pos x="11" y="6"/>
              </a:cxn>
              <a:cxn ang="0">
                <a:pos x="17" y="6"/>
              </a:cxn>
              <a:cxn ang="0">
                <a:pos x="18" y="6"/>
              </a:cxn>
              <a:cxn ang="0">
                <a:pos x="17" y="5"/>
              </a:cxn>
              <a:cxn ang="0">
                <a:pos x="14" y="41"/>
              </a:cxn>
              <a:cxn ang="0">
                <a:pos x="11" y="44"/>
              </a:cxn>
              <a:cxn ang="0">
                <a:pos x="14" y="47"/>
              </a:cxn>
              <a:cxn ang="0">
                <a:pos x="17" y="44"/>
              </a:cxn>
              <a:cxn ang="0">
                <a:pos x="14" y="41"/>
              </a:cxn>
            </a:cxnLst>
            <a:rect l="0" t="0" r="r" b="b"/>
            <a:pathLst>
              <a:path w="29" h="49">
                <a:moveTo>
                  <a:pt x="29" y="44"/>
                </a:moveTo>
                <a:cubicBezTo>
                  <a:pt x="29" y="47"/>
                  <a:pt x="27" y="49"/>
                  <a:pt x="24" y="49"/>
                </a:cubicBezTo>
                <a:cubicBezTo>
                  <a:pt x="5" y="49"/>
                  <a:pt x="5" y="49"/>
                  <a:pt x="5" y="49"/>
                </a:cubicBezTo>
                <a:cubicBezTo>
                  <a:pt x="2" y="49"/>
                  <a:pt x="0" y="47"/>
                  <a:pt x="0" y="44"/>
                </a:cubicBezTo>
                <a:cubicBezTo>
                  <a:pt x="0" y="5"/>
                  <a:pt x="0" y="5"/>
                  <a:pt x="0" y="5"/>
                </a:cubicBezTo>
                <a:cubicBezTo>
                  <a:pt x="0" y="3"/>
                  <a:pt x="2" y="0"/>
                  <a:pt x="5" y="0"/>
                </a:cubicBezTo>
                <a:cubicBezTo>
                  <a:pt x="24" y="0"/>
                  <a:pt x="24" y="0"/>
                  <a:pt x="24" y="0"/>
                </a:cubicBezTo>
                <a:cubicBezTo>
                  <a:pt x="27" y="0"/>
                  <a:pt x="29" y="3"/>
                  <a:pt x="29" y="5"/>
                </a:cubicBezTo>
                <a:lnTo>
                  <a:pt x="29" y="44"/>
                </a:lnTo>
                <a:close/>
                <a:moveTo>
                  <a:pt x="25" y="11"/>
                </a:moveTo>
                <a:cubicBezTo>
                  <a:pt x="25" y="11"/>
                  <a:pt x="25" y="10"/>
                  <a:pt x="24" y="10"/>
                </a:cubicBezTo>
                <a:cubicBezTo>
                  <a:pt x="5" y="10"/>
                  <a:pt x="5" y="10"/>
                  <a:pt x="5" y="10"/>
                </a:cubicBezTo>
                <a:cubicBezTo>
                  <a:pt x="4" y="10"/>
                  <a:pt x="3" y="11"/>
                  <a:pt x="3" y="11"/>
                </a:cubicBezTo>
                <a:cubicBezTo>
                  <a:pt x="3" y="38"/>
                  <a:pt x="3" y="38"/>
                  <a:pt x="3" y="38"/>
                </a:cubicBezTo>
                <a:cubicBezTo>
                  <a:pt x="3" y="39"/>
                  <a:pt x="4" y="39"/>
                  <a:pt x="5" y="39"/>
                </a:cubicBezTo>
                <a:cubicBezTo>
                  <a:pt x="24" y="39"/>
                  <a:pt x="24" y="39"/>
                  <a:pt x="24" y="39"/>
                </a:cubicBezTo>
                <a:cubicBezTo>
                  <a:pt x="25" y="39"/>
                  <a:pt x="25" y="39"/>
                  <a:pt x="25" y="38"/>
                </a:cubicBezTo>
                <a:lnTo>
                  <a:pt x="25" y="11"/>
                </a:lnTo>
                <a:close/>
                <a:moveTo>
                  <a:pt x="17" y="5"/>
                </a:moveTo>
                <a:cubicBezTo>
                  <a:pt x="11" y="5"/>
                  <a:pt x="11" y="5"/>
                  <a:pt x="11" y="5"/>
                </a:cubicBezTo>
                <a:cubicBezTo>
                  <a:pt x="11" y="5"/>
                  <a:pt x="11" y="6"/>
                  <a:pt x="11" y="6"/>
                </a:cubicBezTo>
                <a:cubicBezTo>
                  <a:pt x="11" y="6"/>
                  <a:pt x="11" y="6"/>
                  <a:pt x="11" y="6"/>
                </a:cubicBezTo>
                <a:cubicBezTo>
                  <a:pt x="17" y="6"/>
                  <a:pt x="17" y="6"/>
                  <a:pt x="17" y="6"/>
                </a:cubicBezTo>
                <a:cubicBezTo>
                  <a:pt x="18" y="6"/>
                  <a:pt x="18" y="6"/>
                  <a:pt x="18" y="6"/>
                </a:cubicBezTo>
                <a:cubicBezTo>
                  <a:pt x="18" y="6"/>
                  <a:pt x="18" y="5"/>
                  <a:pt x="17" y="5"/>
                </a:cubicBezTo>
                <a:close/>
                <a:moveTo>
                  <a:pt x="14" y="41"/>
                </a:moveTo>
                <a:cubicBezTo>
                  <a:pt x="13" y="41"/>
                  <a:pt x="11" y="42"/>
                  <a:pt x="11" y="44"/>
                </a:cubicBezTo>
                <a:cubicBezTo>
                  <a:pt x="11" y="46"/>
                  <a:pt x="13" y="47"/>
                  <a:pt x="14" y="47"/>
                </a:cubicBezTo>
                <a:cubicBezTo>
                  <a:pt x="16" y="47"/>
                  <a:pt x="17" y="46"/>
                  <a:pt x="17" y="44"/>
                </a:cubicBezTo>
                <a:cubicBezTo>
                  <a:pt x="17" y="42"/>
                  <a:pt x="16" y="41"/>
                  <a:pt x="14" y="41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81" name="组合 80"/>
          <p:cNvGrpSpPr/>
          <p:nvPr/>
        </p:nvGrpSpPr>
        <p:grpSpPr>
          <a:xfrm>
            <a:off x="4402016" y="1653814"/>
            <a:ext cx="1775946" cy="796061"/>
            <a:chOff x="6167028" y="2167575"/>
            <a:chExt cx="1712307" cy="491585"/>
          </a:xfrm>
        </p:grpSpPr>
        <p:sp>
          <p:nvSpPr>
            <p:cNvPr id="82" name="Rounded Rectangle 72"/>
            <p:cNvSpPr/>
            <p:nvPr/>
          </p:nvSpPr>
          <p:spPr>
            <a:xfrm>
              <a:off x="6167028" y="2167575"/>
              <a:ext cx="1712307" cy="333530"/>
            </a:xfrm>
            <a:prstGeom prst="roundRect">
              <a:avLst>
                <a:gd name="adj" fmla="val 21110"/>
              </a:avLst>
            </a:prstGeom>
            <a:solidFill>
              <a:schemeClr val="bg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3" name="文本框 82"/>
            <p:cNvSpPr txBox="1"/>
            <p:nvPr/>
          </p:nvSpPr>
          <p:spPr>
            <a:xfrm>
              <a:off x="6253049" y="2184012"/>
              <a:ext cx="1540264" cy="47514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22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无聊的空闲</a:t>
              </a:r>
            </a:p>
          </p:txBody>
        </p:sp>
      </p:grpSp>
      <p:grpSp>
        <p:nvGrpSpPr>
          <p:cNvPr id="85" name="组合 84"/>
          <p:cNvGrpSpPr/>
          <p:nvPr/>
        </p:nvGrpSpPr>
        <p:grpSpPr>
          <a:xfrm>
            <a:off x="6589804" y="1653808"/>
            <a:ext cx="1775946" cy="796066"/>
            <a:chOff x="8786403" y="2167575"/>
            <a:chExt cx="1712307" cy="491589"/>
          </a:xfrm>
        </p:grpSpPr>
        <p:sp>
          <p:nvSpPr>
            <p:cNvPr id="86" name="Rounded Rectangle 72"/>
            <p:cNvSpPr/>
            <p:nvPr/>
          </p:nvSpPr>
          <p:spPr>
            <a:xfrm>
              <a:off x="8786403" y="2167575"/>
              <a:ext cx="1712307" cy="333530"/>
            </a:xfrm>
            <a:prstGeom prst="roundRect">
              <a:avLst>
                <a:gd name="adj" fmla="val 21110"/>
              </a:avLst>
            </a:prstGeom>
            <a:solidFill>
              <a:schemeClr val="bg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7" name="文本框 86"/>
            <p:cNvSpPr txBox="1"/>
            <p:nvPr/>
          </p:nvSpPr>
          <p:spPr>
            <a:xfrm>
              <a:off x="8872424" y="2184016"/>
              <a:ext cx="1540265" cy="47514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22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游戏的快乐</a:t>
              </a:r>
            </a:p>
          </p:txBody>
        </p:sp>
      </p:grpSp>
      <p:grpSp>
        <p:nvGrpSpPr>
          <p:cNvPr id="89" name="组合 88"/>
          <p:cNvGrpSpPr/>
          <p:nvPr/>
        </p:nvGrpSpPr>
        <p:grpSpPr>
          <a:xfrm>
            <a:off x="4402016" y="3002828"/>
            <a:ext cx="1775946" cy="543057"/>
            <a:chOff x="6167028" y="3965896"/>
            <a:chExt cx="1712307" cy="333530"/>
          </a:xfrm>
        </p:grpSpPr>
        <p:sp>
          <p:nvSpPr>
            <p:cNvPr id="90" name="Rounded Rectangle 72"/>
            <p:cNvSpPr/>
            <p:nvPr/>
          </p:nvSpPr>
          <p:spPr>
            <a:xfrm>
              <a:off x="6167028" y="3965896"/>
              <a:ext cx="1712307" cy="333530"/>
            </a:xfrm>
            <a:prstGeom prst="roundRect">
              <a:avLst>
                <a:gd name="adj" fmla="val 21110"/>
              </a:avLst>
            </a:prstGeom>
            <a:solidFill>
              <a:schemeClr val="bg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1" name="文本框 90"/>
            <p:cNvSpPr txBox="1"/>
            <p:nvPr/>
          </p:nvSpPr>
          <p:spPr>
            <a:xfrm>
              <a:off x="6330921" y="4000338"/>
              <a:ext cx="1540264" cy="26463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22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K</a:t>
              </a:r>
              <a:r>
                <a:rPr lang="zh-CN" altLang="en-US" sz="22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的刺激</a:t>
              </a:r>
            </a:p>
          </p:txBody>
        </p:sp>
      </p:grpSp>
      <p:grpSp>
        <p:nvGrpSpPr>
          <p:cNvPr id="93" name="组合 92"/>
          <p:cNvGrpSpPr/>
          <p:nvPr/>
        </p:nvGrpSpPr>
        <p:grpSpPr>
          <a:xfrm>
            <a:off x="6589804" y="2950154"/>
            <a:ext cx="1775946" cy="595728"/>
            <a:chOff x="8786403" y="3933546"/>
            <a:chExt cx="1712307" cy="365880"/>
          </a:xfrm>
        </p:grpSpPr>
        <p:sp>
          <p:nvSpPr>
            <p:cNvPr id="94" name="Rounded Rectangle 72"/>
            <p:cNvSpPr/>
            <p:nvPr/>
          </p:nvSpPr>
          <p:spPr>
            <a:xfrm>
              <a:off x="8786403" y="3965896"/>
              <a:ext cx="1712307" cy="333530"/>
            </a:xfrm>
            <a:prstGeom prst="roundRect">
              <a:avLst>
                <a:gd name="adj" fmla="val 21110"/>
              </a:avLst>
            </a:prstGeom>
            <a:solidFill>
              <a:schemeClr val="bg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22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操作的简单</a:t>
              </a:r>
              <a:endParaRPr lang="en-US" sz="2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5" name="文本框 94"/>
            <p:cNvSpPr txBox="1"/>
            <p:nvPr/>
          </p:nvSpPr>
          <p:spPr>
            <a:xfrm>
              <a:off x="8872424" y="3933546"/>
              <a:ext cx="1540264" cy="1984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endParaRPr lang="zh-CN" altLang="en-US" sz="15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1826797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 advTm="0">
        <p15:prstTrans prst="airplane"/>
      </p:transition>
    </mc:Choice>
    <mc:Fallback xmlns="">
      <p:transition spd="slow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5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75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75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75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75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75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75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75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75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5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75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75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42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75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75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75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42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75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75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75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42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0" presetID="42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10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5" presetID="2" presetClass="entr" presetSubtype="4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2" presetClass="entr" presetSubtype="4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3" presetID="2" presetClass="entr" presetSubtype="4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5" dur="5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6" dur="5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7" presetID="2" presetClass="entr" presetSubtype="4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9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0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2" grpId="0"/>
      <p:bldP spid="73" grpId="0" animBg="1"/>
      <p:bldP spid="74" grpId="0" animBg="1"/>
      <p:bldP spid="75" grpId="0" animBg="1"/>
      <p:bldP spid="76" grpId="0" animBg="1"/>
      <p:bldP spid="77" grpId="0" animBg="1"/>
      <p:bldP spid="78" grpId="0" animBg="1"/>
      <p:bldP spid="79" grpId="0" animBg="1"/>
      <p:bldP spid="80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合 3"/>
          <p:cNvGrpSpPr/>
          <p:nvPr/>
        </p:nvGrpSpPr>
        <p:grpSpPr>
          <a:xfrm>
            <a:off x="183398" y="425317"/>
            <a:ext cx="846443" cy="659285"/>
            <a:chOff x="5896029" y="567090"/>
            <a:chExt cx="2542304" cy="1980172"/>
          </a:xfrm>
        </p:grpSpPr>
        <p:grpSp>
          <p:nvGrpSpPr>
            <p:cNvPr id="5" name="组合 4"/>
            <p:cNvGrpSpPr/>
            <p:nvPr/>
          </p:nvGrpSpPr>
          <p:grpSpPr>
            <a:xfrm>
              <a:off x="6157182" y="567090"/>
              <a:ext cx="1982032" cy="1980172"/>
              <a:chOff x="6309221" y="788029"/>
              <a:chExt cx="2825105" cy="2822453"/>
            </a:xfrm>
          </p:grpSpPr>
          <p:sp>
            <p:nvSpPr>
              <p:cNvPr id="8" name="椭圆 7"/>
              <p:cNvSpPr/>
              <p:nvPr/>
            </p:nvSpPr>
            <p:spPr>
              <a:xfrm>
                <a:off x="6461555" y="939037"/>
                <a:ext cx="2520437" cy="2520437"/>
              </a:xfrm>
              <a:prstGeom prst="ellipse">
                <a:avLst/>
              </a:prstGeom>
              <a:solidFill>
                <a:srgbClr val="2921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grpSp>
            <p:nvGrpSpPr>
              <p:cNvPr id="9" name="组合 8"/>
              <p:cNvGrpSpPr/>
              <p:nvPr/>
            </p:nvGrpSpPr>
            <p:grpSpPr>
              <a:xfrm>
                <a:off x="6309221" y="788029"/>
                <a:ext cx="2825105" cy="2822453"/>
                <a:chOff x="2433048" y="1083945"/>
                <a:chExt cx="5333787" cy="5328780"/>
              </a:xfrm>
            </p:grpSpPr>
            <p:sp>
              <p:nvSpPr>
                <p:cNvPr id="10" name="十六角星 9"/>
                <p:cNvSpPr/>
                <p:nvPr/>
              </p:nvSpPr>
              <p:spPr>
                <a:xfrm>
                  <a:off x="2470676" y="1127265"/>
                  <a:ext cx="5254344" cy="5254344"/>
                </a:xfrm>
                <a:prstGeom prst="star16">
                  <a:avLst>
                    <a:gd name="adj" fmla="val 49459"/>
                  </a:avLst>
                </a:prstGeom>
                <a:noFill/>
                <a:ln w="6350">
                  <a:solidFill>
                    <a:srgbClr val="9D819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grpSp>
              <p:nvGrpSpPr>
                <p:cNvPr id="11" name="组合 10"/>
                <p:cNvGrpSpPr/>
                <p:nvPr/>
              </p:nvGrpSpPr>
              <p:grpSpPr>
                <a:xfrm>
                  <a:off x="2433048" y="1083945"/>
                  <a:ext cx="5333787" cy="5328780"/>
                  <a:chOff x="2280648" y="931545"/>
                  <a:chExt cx="5333787" cy="5328780"/>
                </a:xfrm>
              </p:grpSpPr>
              <p:sp>
                <p:nvSpPr>
                  <p:cNvPr id="48" name="椭圆 47"/>
                  <p:cNvSpPr/>
                  <p:nvPr/>
                </p:nvSpPr>
                <p:spPr>
                  <a:xfrm>
                    <a:off x="3903037" y="113166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49" name="椭圆 48"/>
                  <p:cNvSpPr/>
                  <p:nvPr/>
                </p:nvSpPr>
                <p:spPr>
                  <a:xfrm>
                    <a:off x="4916848" y="93154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0" name="椭圆 49"/>
                  <p:cNvSpPr/>
                  <p:nvPr/>
                </p:nvSpPr>
                <p:spPr>
                  <a:xfrm>
                    <a:off x="5937928" y="113116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1" name="椭圆 50"/>
                  <p:cNvSpPr/>
                  <p:nvPr/>
                </p:nvSpPr>
                <p:spPr>
                  <a:xfrm>
                    <a:off x="6763087" y="170149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2" name="椭圆 51"/>
                  <p:cNvSpPr/>
                  <p:nvPr/>
                </p:nvSpPr>
                <p:spPr>
                  <a:xfrm>
                    <a:off x="3057568" y="169725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3" name="椭圆 52"/>
                  <p:cNvSpPr/>
                  <p:nvPr/>
                </p:nvSpPr>
                <p:spPr>
                  <a:xfrm>
                    <a:off x="2481128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4" name="椭圆 53"/>
                  <p:cNvSpPr/>
                  <p:nvPr/>
                </p:nvSpPr>
                <p:spPr>
                  <a:xfrm>
                    <a:off x="7344374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5" name="椭圆 54"/>
                  <p:cNvSpPr/>
                  <p:nvPr/>
                </p:nvSpPr>
                <p:spPr>
                  <a:xfrm>
                    <a:off x="7542435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6" name="椭圆 55"/>
                  <p:cNvSpPr/>
                  <p:nvPr/>
                </p:nvSpPr>
                <p:spPr>
                  <a:xfrm>
                    <a:off x="2280648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7" name="椭圆 56"/>
                  <p:cNvSpPr/>
                  <p:nvPr/>
                </p:nvSpPr>
                <p:spPr>
                  <a:xfrm>
                    <a:off x="2499116" y="461641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8" name="椭圆 57"/>
                  <p:cNvSpPr/>
                  <p:nvPr/>
                </p:nvSpPr>
                <p:spPr>
                  <a:xfrm>
                    <a:off x="7321514" y="458973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9" name="椭圆 58"/>
                  <p:cNvSpPr/>
                  <p:nvPr/>
                </p:nvSpPr>
                <p:spPr>
                  <a:xfrm>
                    <a:off x="6772514" y="542670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0" name="椭圆 59"/>
                  <p:cNvSpPr/>
                  <p:nvPr/>
                </p:nvSpPr>
                <p:spPr>
                  <a:xfrm>
                    <a:off x="3057568" y="542246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1" name="椭圆 60"/>
                  <p:cNvSpPr/>
                  <p:nvPr/>
                </p:nvSpPr>
                <p:spPr>
                  <a:xfrm>
                    <a:off x="3903037" y="5981184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2" name="椭圆 61"/>
                  <p:cNvSpPr/>
                  <p:nvPr/>
                </p:nvSpPr>
                <p:spPr>
                  <a:xfrm>
                    <a:off x="5937928" y="598068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3" name="椭圆 62"/>
                  <p:cNvSpPr/>
                  <p:nvPr/>
                </p:nvSpPr>
                <p:spPr>
                  <a:xfrm>
                    <a:off x="4916848" y="618832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4" name="椭圆 63"/>
                  <p:cNvSpPr/>
                  <p:nvPr/>
                </p:nvSpPr>
                <p:spPr>
                  <a:xfrm>
                    <a:off x="4488353" y="265727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5" name="椭圆 64"/>
                  <p:cNvSpPr/>
                  <p:nvPr/>
                </p:nvSpPr>
                <p:spPr>
                  <a:xfrm>
                    <a:off x="3129568" y="2357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6" name="椭圆 65"/>
                  <p:cNvSpPr/>
                  <p:nvPr/>
                </p:nvSpPr>
                <p:spPr>
                  <a:xfrm>
                    <a:off x="6107323" y="2572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7" name="椭圆 66"/>
                  <p:cNvSpPr/>
                  <p:nvPr/>
                </p:nvSpPr>
                <p:spPr>
                  <a:xfrm>
                    <a:off x="5431118" y="154482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8" name="椭圆 67"/>
                  <p:cNvSpPr/>
                  <p:nvPr/>
                </p:nvSpPr>
                <p:spPr>
                  <a:xfrm>
                    <a:off x="3338442" y="486097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9" name="椭圆 68"/>
                  <p:cNvSpPr/>
                  <p:nvPr/>
                </p:nvSpPr>
                <p:spPr>
                  <a:xfrm>
                    <a:off x="4080450" y="349361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70" name="椭圆 69"/>
                  <p:cNvSpPr/>
                  <p:nvPr/>
                </p:nvSpPr>
                <p:spPr>
                  <a:xfrm>
                    <a:off x="5359118" y="568536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71" name="椭圆 70"/>
                  <p:cNvSpPr/>
                  <p:nvPr/>
                </p:nvSpPr>
                <p:spPr>
                  <a:xfrm>
                    <a:off x="6857155" y="346476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</p:grpSp>
            <p:cxnSp>
              <p:nvCxnSpPr>
                <p:cNvPr id="12" name="直接连接符 11"/>
                <p:cNvCxnSpPr>
                  <a:stCxn id="49" idx="4"/>
                  <a:endCxn id="67" idx="0"/>
                </p:cNvCxnSpPr>
                <p:nvPr/>
              </p:nvCxnSpPr>
              <p:spPr>
                <a:xfrm>
                  <a:off x="5105248" y="1155945"/>
                  <a:ext cx="514270" cy="5412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" name="直接连接符 12"/>
                <p:cNvCxnSpPr>
                  <a:stCxn id="48" idx="5"/>
                  <a:endCxn id="67" idx="2"/>
                </p:cNvCxnSpPr>
                <p:nvPr/>
              </p:nvCxnSpPr>
              <p:spPr>
                <a:xfrm>
                  <a:off x="4116893" y="1345521"/>
                  <a:ext cx="1466625" cy="38770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" name="直接连接符 13"/>
                <p:cNvCxnSpPr>
                  <a:stCxn id="65" idx="0"/>
                  <a:endCxn id="48" idx="4"/>
                </p:cNvCxnSpPr>
                <p:nvPr/>
              </p:nvCxnSpPr>
              <p:spPr>
                <a:xfrm flipV="1">
                  <a:off x="3317968" y="1356065"/>
                  <a:ext cx="773469" cy="1153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" name="直接连接符 14"/>
                <p:cNvCxnSpPr>
                  <a:stCxn id="70" idx="3"/>
                  <a:endCxn id="63" idx="0"/>
                </p:cNvCxnSpPr>
                <p:nvPr/>
              </p:nvCxnSpPr>
              <p:spPr>
                <a:xfrm flipH="1">
                  <a:off x="5105248" y="5899217"/>
                  <a:ext cx="416814" cy="44150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" name="直接连接符 15"/>
                <p:cNvCxnSpPr>
                  <a:stCxn id="53" idx="6"/>
                </p:cNvCxnSpPr>
                <p:nvPr/>
              </p:nvCxnSpPr>
              <p:spPr>
                <a:xfrm flipV="1">
                  <a:off x="2705528" y="2545627"/>
                  <a:ext cx="576440" cy="19911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" name="直接连接符 16"/>
                <p:cNvCxnSpPr>
                  <a:stCxn id="65" idx="6"/>
                  <a:endCxn id="64" idx="2"/>
                </p:cNvCxnSpPr>
                <p:nvPr/>
              </p:nvCxnSpPr>
              <p:spPr>
                <a:xfrm>
                  <a:off x="3353968" y="2545627"/>
                  <a:ext cx="1286785" cy="300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" name="直接连接符 17"/>
                <p:cNvCxnSpPr>
                  <a:stCxn id="64" idx="0"/>
                  <a:endCxn id="67" idx="4"/>
                </p:cNvCxnSpPr>
                <p:nvPr/>
              </p:nvCxnSpPr>
              <p:spPr>
                <a:xfrm flipV="1">
                  <a:off x="4676753" y="1769223"/>
                  <a:ext cx="942765" cy="104045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" name="直接连接符 18"/>
                <p:cNvCxnSpPr>
                  <a:stCxn id="56" idx="7"/>
                  <a:endCxn id="65" idx="3"/>
                </p:cNvCxnSpPr>
                <p:nvPr/>
              </p:nvCxnSpPr>
              <p:spPr>
                <a:xfrm flipV="1">
                  <a:off x="2494504" y="2571083"/>
                  <a:ext cx="798008" cy="113989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" name="直接连接符 19"/>
                <p:cNvCxnSpPr>
                  <a:stCxn id="65" idx="5"/>
                  <a:endCxn id="69" idx="1"/>
                </p:cNvCxnSpPr>
                <p:nvPr/>
              </p:nvCxnSpPr>
              <p:spPr>
                <a:xfrm>
                  <a:off x="3343424" y="2571083"/>
                  <a:ext cx="899970" cy="10854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" name="直接连接符 20"/>
                <p:cNvCxnSpPr>
                  <a:stCxn id="67" idx="7"/>
                  <a:endCxn id="50" idx="3"/>
                </p:cNvCxnSpPr>
                <p:nvPr/>
              </p:nvCxnSpPr>
              <p:spPr>
                <a:xfrm flipV="1">
                  <a:off x="5644974" y="1345025"/>
                  <a:ext cx="455898" cy="36274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" name="直接连接符 21"/>
                <p:cNvCxnSpPr>
                  <a:stCxn id="67" idx="6"/>
                  <a:endCxn id="51" idx="2"/>
                </p:cNvCxnSpPr>
                <p:nvPr/>
              </p:nvCxnSpPr>
              <p:spPr>
                <a:xfrm>
                  <a:off x="5655518" y="1733223"/>
                  <a:ext cx="1259969" cy="1566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" name="直接连接符 22"/>
                <p:cNvCxnSpPr>
                  <a:stCxn id="65" idx="7"/>
                  <a:endCxn id="67" idx="3"/>
                </p:cNvCxnSpPr>
                <p:nvPr/>
              </p:nvCxnSpPr>
              <p:spPr>
                <a:xfrm flipV="1">
                  <a:off x="3343424" y="1758679"/>
                  <a:ext cx="2250638" cy="761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" name="直接连接符 23"/>
                <p:cNvCxnSpPr>
                  <a:stCxn id="67" idx="5"/>
                  <a:endCxn id="66" idx="1"/>
                </p:cNvCxnSpPr>
                <p:nvPr/>
              </p:nvCxnSpPr>
              <p:spPr>
                <a:xfrm>
                  <a:off x="5644974" y="1758679"/>
                  <a:ext cx="625293" cy="976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" name="直接连接符 24"/>
                <p:cNvCxnSpPr>
                  <a:stCxn id="64" idx="6"/>
                  <a:endCxn id="66" idx="2"/>
                </p:cNvCxnSpPr>
                <p:nvPr/>
              </p:nvCxnSpPr>
              <p:spPr>
                <a:xfrm flipV="1">
                  <a:off x="4712753" y="2760627"/>
                  <a:ext cx="1546970" cy="85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" name="直接连接符 25"/>
                <p:cNvCxnSpPr>
                  <a:stCxn id="66" idx="3"/>
                  <a:endCxn id="70" idx="0"/>
                </p:cNvCxnSpPr>
                <p:nvPr/>
              </p:nvCxnSpPr>
              <p:spPr>
                <a:xfrm flipH="1">
                  <a:off x="5547518" y="2786083"/>
                  <a:ext cx="722749" cy="30516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" name="直接连接符 26"/>
                <p:cNvCxnSpPr>
                  <a:stCxn id="66" idx="0"/>
                  <a:endCxn id="51" idx="3"/>
                </p:cNvCxnSpPr>
                <p:nvPr/>
              </p:nvCxnSpPr>
              <p:spPr>
                <a:xfrm flipV="1">
                  <a:off x="6295723" y="1915353"/>
                  <a:ext cx="630308" cy="8092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" name="直接连接符 27"/>
                <p:cNvCxnSpPr>
                  <a:stCxn id="66" idx="5"/>
                  <a:endCxn id="71" idx="1"/>
                </p:cNvCxnSpPr>
                <p:nvPr/>
              </p:nvCxnSpPr>
              <p:spPr>
                <a:xfrm>
                  <a:off x="6321179" y="2786083"/>
                  <a:ext cx="698920" cy="84162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" name="直接连接符 28"/>
                <p:cNvCxnSpPr>
                  <a:stCxn id="71" idx="0"/>
                  <a:endCxn id="51" idx="4"/>
                </p:cNvCxnSpPr>
                <p:nvPr/>
              </p:nvCxnSpPr>
              <p:spPr>
                <a:xfrm flipH="1" flipV="1">
                  <a:off x="6951487" y="1925897"/>
                  <a:ext cx="94068" cy="169127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0" name="直接连接符 29"/>
                <p:cNvCxnSpPr>
                  <a:stCxn id="71" idx="7"/>
                  <a:endCxn id="54" idx="3"/>
                </p:cNvCxnSpPr>
                <p:nvPr/>
              </p:nvCxnSpPr>
              <p:spPr>
                <a:xfrm flipV="1">
                  <a:off x="7071011" y="2770197"/>
                  <a:ext cx="436307" cy="8575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1" name="直接连接符 30"/>
                <p:cNvCxnSpPr>
                  <a:stCxn id="58" idx="1"/>
                  <a:endCxn id="71" idx="5"/>
                </p:cNvCxnSpPr>
                <p:nvPr/>
              </p:nvCxnSpPr>
              <p:spPr>
                <a:xfrm flipH="1" flipV="1">
                  <a:off x="7071011" y="3678624"/>
                  <a:ext cx="413447" cy="107405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" name="直接连接符 31"/>
                <p:cNvCxnSpPr>
                  <a:stCxn id="64" idx="4"/>
                  <a:endCxn id="70" idx="1"/>
                </p:cNvCxnSpPr>
                <p:nvPr/>
              </p:nvCxnSpPr>
              <p:spPr>
                <a:xfrm>
                  <a:off x="4676753" y="2881677"/>
                  <a:ext cx="845309" cy="296662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" name="直接连接符 32"/>
                <p:cNvCxnSpPr>
                  <a:stCxn id="69" idx="5"/>
                  <a:endCxn id="70" idx="1"/>
                </p:cNvCxnSpPr>
                <p:nvPr/>
              </p:nvCxnSpPr>
              <p:spPr>
                <a:xfrm>
                  <a:off x="4294306" y="3707469"/>
                  <a:ext cx="1227756" cy="214083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" name="直接连接符 33"/>
                <p:cNvCxnSpPr>
                  <a:stCxn id="56" idx="5"/>
                  <a:endCxn id="68" idx="1"/>
                </p:cNvCxnSpPr>
                <p:nvPr/>
              </p:nvCxnSpPr>
              <p:spPr>
                <a:xfrm>
                  <a:off x="2494504" y="3761893"/>
                  <a:ext cx="1006882" cy="126202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5" name="直接连接符 34"/>
                <p:cNvCxnSpPr>
                  <a:stCxn id="68" idx="7"/>
                  <a:endCxn id="69" idx="2"/>
                </p:cNvCxnSpPr>
                <p:nvPr/>
              </p:nvCxnSpPr>
              <p:spPr>
                <a:xfrm flipV="1">
                  <a:off x="3552298" y="3682013"/>
                  <a:ext cx="680552" cy="134190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6" name="直接连接符 35"/>
                <p:cNvCxnSpPr>
                  <a:stCxn id="68" idx="0"/>
                  <a:endCxn id="65" idx="4"/>
                </p:cNvCxnSpPr>
                <p:nvPr/>
              </p:nvCxnSpPr>
              <p:spPr>
                <a:xfrm flipH="1" flipV="1">
                  <a:off x="3317968" y="2581627"/>
                  <a:ext cx="208874" cy="243174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" name="直接连接符 36"/>
                <p:cNvCxnSpPr>
                  <a:stCxn id="65" idx="1"/>
                  <a:endCxn id="52" idx="4"/>
                </p:cNvCxnSpPr>
                <p:nvPr/>
              </p:nvCxnSpPr>
              <p:spPr>
                <a:xfrm flipH="1" flipV="1">
                  <a:off x="3245968" y="1921650"/>
                  <a:ext cx="46544" cy="59852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" name="直接连接符 37"/>
                <p:cNvCxnSpPr>
                  <a:stCxn id="59" idx="0"/>
                  <a:endCxn id="71" idx="4"/>
                </p:cNvCxnSpPr>
                <p:nvPr/>
              </p:nvCxnSpPr>
              <p:spPr>
                <a:xfrm flipV="1">
                  <a:off x="6960914" y="3689168"/>
                  <a:ext cx="84641" cy="188994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9" name="直接连接符 38"/>
                <p:cNvCxnSpPr>
                  <a:stCxn id="71" idx="3"/>
                  <a:endCxn id="70" idx="7"/>
                </p:cNvCxnSpPr>
                <p:nvPr/>
              </p:nvCxnSpPr>
              <p:spPr>
                <a:xfrm flipH="1">
                  <a:off x="5572974" y="3678624"/>
                  <a:ext cx="1447125" cy="216968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0" name="直接连接符 39"/>
                <p:cNvCxnSpPr>
                  <a:stCxn id="70" idx="6"/>
                  <a:endCxn id="59" idx="2"/>
                </p:cNvCxnSpPr>
                <p:nvPr/>
              </p:nvCxnSpPr>
              <p:spPr>
                <a:xfrm flipV="1">
                  <a:off x="5583518" y="5615109"/>
                  <a:ext cx="1341396" cy="25865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1" name="直接连接符 40"/>
                <p:cNvCxnSpPr>
                  <a:stCxn id="70" idx="5"/>
                  <a:endCxn id="62" idx="1"/>
                </p:cNvCxnSpPr>
                <p:nvPr/>
              </p:nvCxnSpPr>
              <p:spPr>
                <a:xfrm>
                  <a:off x="5572974" y="5899217"/>
                  <a:ext cx="527898" cy="2444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2" name="直接连接符 41"/>
                <p:cNvCxnSpPr>
                  <a:stCxn id="69" idx="0"/>
                  <a:endCxn id="64" idx="3"/>
                </p:cNvCxnSpPr>
                <p:nvPr/>
              </p:nvCxnSpPr>
              <p:spPr>
                <a:xfrm flipV="1">
                  <a:off x="4268850" y="2871133"/>
                  <a:ext cx="382447" cy="77488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3" name="直接连接符 42"/>
                <p:cNvCxnSpPr>
                  <a:stCxn id="68" idx="6"/>
                  <a:endCxn id="70" idx="2"/>
                </p:cNvCxnSpPr>
                <p:nvPr/>
              </p:nvCxnSpPr>
              <p:spPr>
                <a:xfrm>
                  <a:off x="3562842" y="5049372"/>
                  <a:ext cx="1948676" cy="82438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4" name="直接连接符 43"/>
                <p:cNvCxnSpPr>
                  <a:stCxn id="57" idx="6"/>
                  <a:endCxn id="68" idx="2"/>
                </p:cNvCxnSpPr>
                <p:nvPr/>
              </p:nvCxnSpPr>
              <p:spPr>
                <a:xfrm>
                  <a:off x="2723516" y="4804810"/>
                  <a:ext cx="767326" cy="244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5" name="直接连接符 44"/>
                <p:cNvCxnSpPr>
                  <a:stCxn id="60" idx="7"/>
                  <a:endCxn id="68" idx="3"/>
                </p:cNvCxnSpPr>
                <p:nvPr/>
              </p:nvCxnSpPr>
              <p:spPr>
                <a:xfrm flipV="1">
                  <a:off x="3271424" y="5074828"/>
                  <a:ext cx="229962" cy="5105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6" name="直接连接符 45"/>
                <p:cNvCxnSpPr>
                  <a:stCxn id="61" idx="0"/>
                  <a:endCxn id="68" idx="5"/>
                </p:cNvCxnSpPr>
                <p:nvPr/>
              </p:nvCxnSpPr>
              <p:spPr>
                <a:xfrm flipH="1" flipV="1">
                  <a:off x="3552298" y="5074828"/>
                  <a:ext cx="539139" cy="105875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7" name="直接连接符 46"/>
                <p:cNvCxnSpPr>
                  <a:stCxn id="61" idx="7"/>
                  <a:endCxn id="70" idx="2"/>
                </p:cNvCxnSpPr>
                <p:nvPr/>
              </p:nvCxnSpPr>
              <p:spPr>
                <a:xfrm flipV="1">
                  <a:off x="4116893" y="5873761"/>
                  <a:ext cx="1394625" cy="270367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6" name="文本框 5"/>
            <p:cNvSpPr txBox="1"/>
            <p:nvPr/>
          </p:nvSpPr>
          <p:spPr>
            <a:xfrm>
              <a:off x="6610899" y="1009427"/>
              <a:ext cx="1107126" cy="10112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200" b="1" dirty="0">
                  <a:solidFill>
                    <a:schemeClr val="bg1"/>
                  </a:solidFill>
                  <a:latin typeface="方正兰亭粗黑简体" panose="02000000000000000000" pitchFamily="2" charset="-122"/>
                  <a:ea typeface="方正兰亭粗黑简体" panose="02000000000000000000" pitchFamily="2" charset="-122"/>
                </a:rPr>
                <a:t>1</a:t>
              </a:r>
              <a:endParaRPr lang="en-US" altLang="zh-CN" sz="825" b="1" dirty="0">
                <a:solidFill>
                  <a:schemeClr val="bg1"/>
                </a:solidFill>
                <a:latin typeface="方正兰亭粗黑简体" panose="02000000000000000000" pitchFamily="2" charset="-122"/>
                <a:ea typeface="方正兰亭粗黑简体" panose="02000000000000000000" pitchFamily="2" charset="-122"/>
              </a:endParaRPr>
            </a:p>
          </p:txBody>
        </p:sp>
        <p:sp>
          <p:nvSpPr>
            <p:cNvPr id="7" name="弧形 6"/>
            <p:cNvSpPr/>
            <p:nvPr/>
          </p:nvSpPr>
          <p:spPr>
            <a:xfrm rot="20705087">
              <a:off x="5896029" y="1413987"/>
              <a:ext cx="2542304" cy="475742"/>
            </a:xfrm>
            <a:prstGeom prst="arc">
              <a:avLst>
                <a:gd name="adj1" fmla="val 20946925"/>
                <a:gd name="adj2" fmla="val 11464655"/>
              </a:avLst>
            </a:prstGeom>
            <a:ln w="19050">
              <a:solidFill>
                <a:srgbClr val="9D819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</p:grpSp>
      <p:sp>
        <p:nvSpPr>
          <p:cNvPr id="72" name="文本框 71"/>
          <p:cNvSpPr txBox="1"/>
          <p:nvPr/>
        </p:nvSpPr>
        <p:spPr>
          <a:xfrm>
            <a:off x="1041984" y="517240"/>
            <a:ext cx="2104064" cy="4589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选题原因</a:t>
            </a:r>
            <a:endParaRPr lang="en-US" altLang="zh-CN" sz="75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73" name="Picture 2" descr="D:\360data\重要数据\桌面\168831138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09149" y="1084602"/>
            <a:ext cx="3635141" cy="2424319"/>
          </a:xfrm>
          <a:prstGeom prst="rect">
            <a:avLst/>
          </a:prstGeom>
          <a:noFill/>
          <a:effectLst>
            <a:reflection blurRad="6350" stA="30000" endPos="3500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矩形 1">
            <a:extLst>
              <a:ext uri="{FF2B5EF4-FFF2-40B4-BE49-F238E27FC236}">
                <a16:creationId xmlns:a16="http://schemas.microsoft.com/office/drawing/2014/main" id="{93755B81-8C41-46DE-9B5F-2DF3A061C225}"/>
              </a:ext>
            </a:extLst>
          </p:cNvPr>
          <p:cNvSpPr/>
          <p:nvPr/>
        </p:nvSpPr>
        <p:spPr>
          <a:xfrm>
            <a:off x="1939892" y="3810652"/>
            <a:ext cx="4973653" cy="815608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zh-CN" altLang="en-US" sz="47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是兄弟就来斗地主</a:t>
            </a:r>
          </a:p>
        </p:txBody>
      </p:sp>
    </p:spTree>
    <p:extLst>
      <p:ext uri="{BB962C8B-B14F-4D97-AF65-F5344CB8AC3E}">
        <p14:creationId xmlns:p14="http://schemas.microsoft.com/office/powerpoint/2010/main" val="50890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0">
        <p14:flip dir="r"/>
      </p:transition>
    </mc:Choice>
    <mc:Fallback xmlns="">
      <p:transition spd="slow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500"/>
                            </p:stCondLst>
                            <p:childTnLst>
                              <p:par>
                                <p:cTn id="16" presetID="2" presetClass="entr" presetSubtype="8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1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2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合 3"/>
          <p:cNvGrpSpPr/>
          <p:nvPr/>
        </p:nvGrpSpPr>
        <p:grpSpPr>
          <a:xfrm>
            <a:off x="-537" y="1"/>
            <a:ext cx="9215178" cy="5200022"/>
            <a:chOff x="-716" y="-1"/>
            <a:chExt cx="12286904" cy="6933363"/>
          </a:xfrm>
        </p:grpSpPr>
        <p:pic>
          <p:nvPicPr>
            <p:cNvPr id="5" name="图片 4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" y="-1"/>
              <a:ext cx="12269037" cy="6933363"/>
            </a:xfrm>
            <a:prstGeom prst="rect">
              <a:avLst/>
            </a:prstGeom>
          </p:spPr>
        </p:pic>
        <p:pic>
          <p:nvPicPr>
            <p:cNvPr id="6" name="图片 5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716" y="0"/>
              <a:ext cx="12286904" cy="6910571"/>
            </a:xfrm>
            <a:prstGeom prst="rect">
              <a:avLst/>
            </a:prstGeom>
          </p:spPr>
        </p:pic>
      </p:grpSp>
      <p:grpSp>
        <p:nvGrpSpPr>
          <p:cNvPr id="7" name="组合 6"/>
          <p:cNvGrpSpPr/>
          <p:nvPr/>
        </p:nvGrpSpPr>
        <p:grpSpPr>
          <a:xfrm>
            <a:off x="1129523" y="3258033"/>
            <a:ext cx="1181727" cy="1180618"/>
            <a:chOff x="1308745" y="2394284"/>
            <a:chExt cx="2326780" cy="2324596"/>
          </a:xfrm>
        </p:grpSpPr>
        <p:pic>
          <p:nvPicPr>
            <p:cNvPr id="8" name="图片 7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00162" y="2491188"/>
              <a:ext cx="2143001" cy="2140801"/>
            </a:xfrm>
            <a:prstGeom prst="rect">
              <a:avLst/>
            </a:prstGeom>
          </p:spPr>
        </p:pic>
        <p:grpSp>
          <p:nvGrpSpPr>
            <p:cNvPr id="9" name="组合 8"/>
            <p:cNvGrpSpPr/>
            <p:nvPr/>
          </p:nvGrpSpPr>
          <p:grpSpPr>
            <a:xfrm>
              <a:off x="1308745" y="2394284"/>
              <a:ext cx="2326780" cy="2324596"/>
              <a:chOff x="2433048" y="1083945"/>
              <a:chExt cx="5333787" cy="5328780"/>
            </a:xfrm>
          </p:grpSpPr>
          <p:sp>
            <p:nvSpPr>
              <p:cNvPr id="10" name="十六角星 9"/>
              <p:cNvSpPr/>
              <p:nvPr/>
            </p:nvSpPr>
            <p:spPr>
              <a:xfrm>
                <a:off x="2470676" y="1127265"/>
                <a:ext cx="5254344" cy="5254344"/>
              </a:xfrm>
              <a:prstGeom prst="star16">
                <a:avLst>
                  <a:gd name="adj" fmla="val 49459"/>
                </a:avLst>
              </a:prstGeom>
              <a:noFill/>
              <a:ln w="6350">
                <a:solidFill>
                  <a:srgbClr val="9D819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grpSp>
            <p:nvGrpSpPr>
              <p:cNvPr id="11" name="组合 10"/>
              <p:cNvGrpSpPr/>
              <p:nvPr/>
            </p:nvGrpSpPr>
            <p:grpSpPr>
              <a:xfrm>
                <a:off x="2433048" y="1083945"/>
                <a:ext cx="5333787" cy="5328780"/>
                <a:chOff x="2280648" y="931545"/>
                <a:chExt cx="5333787" cy="5328780"/>
              </a:xfrm>
            </p:grpSpPr>
            <p:sp>
              <p:nvSpPr>
                <p:cNvPr id="48" name="椭圆 47"/>
                <p:cNvSpPr/>
                <p:nvPr/>
              </p:nvSpPr>
              <p:spPr>
                <a:xfrm>
                  <a:off x="3903037" y="1131665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49" name="椭圆 48"/>
                <p:cNvSpPr/>
                <p:nvPr/>
              </p:nvSpPr>
              <p:spPr>
                <a:xfrm>
                  <a:off x="4916848" y="931545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50" name="椭圆 49"/>
                <p:cNvSpPr/>
                <p:nvPr/>
              </p:nvSpPr>
              <p:spPr>
                <a:xfrm>
                  <a:off x="5937928" y="1131169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51" name="椭圆 50"/>
                <p:cNvSpPr/>
                <p:nvPr/>
              </p:nvSpPr>
              <p:spPr>
                <a:xfrm>
                  <a:off x="6763087" y="170149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52" name="椭圆 51"/>
                <p:cNvSpPr/>
                <p:nvPr/>
              </p:nvSpPr>
              <p:spPr>
                <a:xfrm>
                  <a:off x="3057568" y="1697250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53" name="椭圆 52"/>
                <p:cNvSpPr/>
                <p:nvPr/>
              </p:nvSpPr>
              <p:spPr>
                <a:xfrm>
                  <a:off x="2481128" y="2556341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54" name="椭圆 53"/>
                <p:cNvSpPr/>
                <p:nvPr/>
              </p:nvSpPr>
              <p:spPr>
                <a:xfrm>
                  <a:off x="7344374" y="2556341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55" name="椭圆 54"/>
                <p:cNvSpPr/>
                <p:nvPr/>
              </p:nvSpPr>
              <p:spPr>
                <a:xfrm>
                  <a:off x="7542435" y="354803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56" name="椭圆 55"/>
                <p:cNvSpPr/>
                <p:nvPr/>
              </p:nvSpPr>
              <p:spPr>
                <a:xfrm>
                  <a:off x="2280648" y="354803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57" name="椭圆 56"/>
                <p:cNvSpPr/>
                <p:nvPr/>
              </p:nvSpPr>
              <p:spPr>
                <a:xfrm>
                  <a:off x="2499116" y="4616410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58" name="椭圆 57"/>
                <p:cNvSpPr/>
                <p:nvPr/>
              </p:nvSpPr>
              <p:spPr>
                <a:xfrm>
                  <a:off x="7321514" y="4589735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59" name="椭圆 58"/>
                <p:cNvSpPr/>
                <p:nvPr/>
              </p:nvSpPr>
              <p:spPr>
                <a:xfrm>
                  <a:off x="6772514" y="5426709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60" name="椭圆 59"/>
                <p:cNvSpPr/>
                <p:nvPr/>
              </p:nvSpPr>
              <p:spPr>
                <a:xfrm>
                  <a:off x="3057568" y="5422462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61" name="椭圆 60"/>
                <p:cNvSpPr/>
                <p:nvPr/>
              </p:nvSpPr>
              <p:spPr>
                <a:xfrm>
                  <a:off x="3903037" y="5981184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62" name="椭圆 61"/>
                <p:cNvSpPr/>
                <p:nvPr/>
              </p:nvSpPr>
              <p:spPr>
                <a:xfrm>
                  <a:off x="5937928" y="5980688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63" name="椭圆 62"/>
                <p:cNvSpPr/>
                <p:nvPr/>
              </p:nvSpPr>
              <p:spPr>
                <a:xfrm>
                  <a:off x="4916848" y="6188325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64" name="椭圆 63"/>
                <p:cNvSpPr/>
                <p:nvPr/>
              </p:nvSpPr>
              <p:spPr>
                <a:xfrm>
                  <a:off x="4488353" y="265727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65" name="椭圆 64"/>
                <p:cNvSpPr/>
                <p:nvPr/>
              </p:nvSpPr>
              <p:spPr>
                <a:xfrm>
                  <a:off x="3129568" y="235722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66" name="椭圆 65"/>
                <p:cNvSpPr/>
                <p:nvPr/>
              </p:nvSpPr>
              <p:spPr>
                <a:xfrm>
                  <a:off x="6107323" y="257222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67" name="椭圆 66"/>
                <p:cNvSpPr/>
                <p:nvPr/>
              </p:nvSpPr>
              <p:spPr>
                <a:xfrm>
                  <a:off x="5431118" y="1544823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68" name="椭圆 67"/>
                <p:cNvSpPr/>
                <p:nvPr/>
              </p:nvSpPr>
              <p:spPr>
                <a:xfrm>
                  <a:off x="3338442" y="4860972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69" name="椭圆 68"/>
                <p:cNvSpPr/>
                <p:nvPr/>
              </p:nvSpPr>
              <p:spPr>
                <a:xfrm>
                  <a:off x="4080450" y="3493613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70" name="椭圆 69"/>
                <p:cNvSpPr/>
                <p:nvPr/>
              </p:nvSpPr>
              <p:spPr>
                <a:xfrm>
                  <a:off x="5359118" y="5685361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71" name="椭圆 70"/>
                <p:cNvSpPr/>
                <p:nvPr/>
              </p:nvSpPr>
              <p:spPr>
                <a:xfrm>
                  <a:off x="6857155" y="3464768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</p:grpSp>
          <p:cxnSp>
            <p:nvCxnSpPr>
              <p:cNvPr id="12" name="直接连接符 11"/>
              <p:cNvCxnSpPr>
                <a:stCxn id="49" idx="4"/>
                <a:endCxn id="67" idx="0"/>
              </p:cNvCxnSpPr>
              <p:nvPr/>
            </p:nvCxnSpPr>
            <p:spPr>
              <a:xfrm>
                <a:off x="5105248" y="1155945"/>
                <a:ext cx="514270" cy="54127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直接连接符 12"/>
              <p:cNvCxnSpPr>
                <a:stCxn id="48" idx="5"/>
                <a:endCxn id="67" idx="2"/>
              </p:cNvCxnSpPr>
              <p:nvPr/>
            </p:nvCxnSpPr>
            <p:spPr>
              <a:xfrm>
                <a:off x="4116893" y="1345521"/>
                <a:ext cx="1466625" cy="38770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直接连接符 13"/>
              <p:cNvCxnSpPr>
                <a:stCxn id="65" idx="0"/>
                <a:endCxn id="48" idx="4"/>
              </p:cNvCxnSpPr>
              <p:nvPr/>
            </p:nvCxnSpPr>
            <p:spPr>
              <a:xfrm flipV="1">
                <a:off x="3317968" y="1356065"/>
                <a:ext cx="773469" cy="115356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直接连接符 14"/>
              <p:cNvCxnSpPr>
                <a:stCxn id="70" idx="3"/>
                <a:endCxn id="63" idx="0"/>
              </p:cNvCxnSpPr>
              <p:nvPr/>
            </p:nvCxnSpPr>
            <p:spPr>
              <a:xfrm flipH="1">
                <a:off x="5105248" y="5899217"/>
                <a:ext cx="416814" cy="44150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直接连接符 15"/>
              <p:cNvCxnSpPr>
                <a:stCxn id="53" idx="6"/>
              </p:cNvCxnSpPr>
              <p:nvPr/>
            </p:nvCxnSpPr>
            <p:spPr>
              <a:xfrm flipV="1">
                <a:off x="2705528" y="2545627"/>
                <a:ext cx="576440" cy="199114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直接连接符 16"/>
              <p:cNvCxnSpPr>
                <a:stCxn id="65" idx="6"/>
                <a:endCxn id="64" idx="2"/>
              </p:cNvCxnSpPr>
              <p:nvPr/>
            </p:nvCxnSpPr>
            <p:spPr>
              <a:xfrm>
                <a:off x="3353968" y="2545627"/>
                <a:ext cx="1286785" cy="300050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直接连接符 17"/>
              <p:cNvCxnSpPr>
                <a:stCxn id="64" idx="0"/>
                <a:endCxn id="67" idx="4"/>
              </p:cNvCxnSpPr>
              <p:nvPr/>
            </p:nvCxnSpPr>
            <p:spPr>
              <a:xfrm flipV="1">
                <a:off x="4676753" y="1769223"/>
                <a:ext cx="942765" cy="1040454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直接连接符 18"/>
              <p:cNvCxnSpPr>
                <a:stCxn id="56" idx="7"/>
                <a:endCxn id="65" idx="3"/>
              </p:cNvCxnSpPr>
              <p:nvPr/>
            </p:nvCxnSpPr>
            <p:spPr>
              <a:xfrm flipV="1">
                <a:off x="2494504" y="2571083"/>
                <a:ext cx="798008" cy="113989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直接连接符 19"/>
              <p:cNvCxnSpPr>
                <a:stCxn id="65" idx="5"/>
                <a:endCxn id="69" idx="1"/>
              </p:cNvCxnSpPr>
              <p:nvPr/>
            </p:nvCxnSpPr>
            <p:spPr>
              <a:xfrm>
                <a:off x="3343424" y="2571083"/>
                <a:ext cx="899970" cy="1085474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直接连接符 20"/>
              <p:cNvCxnSpPr>
                <a:stCxn id="67" idx="7"/>
                <a:endCxn id="50" idx="3"/>
              </p:cNvCxnSpPr>
              <p:nvPr/>
            </p:nvCxnSpPr>
            <p:spPr>
              <a:xfrm flipV="1">
                <a:off x="5644974" y="1345025"/>
                <a:ext cx="455898" cy="36274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直接连接符 21"/>
              <p:cNvCxnSpPr>
                <a:stCxn id="67" idx="6"/>
                <a:endCxn id="51" idx="2"/>
              </p:cNvCxnSpPr>
              <p:nvPr/>
            </p:nvCxnSpPr>
            <p:spPr>
              <a:xfrm>
                <a:off x="5655518" y="1733223"/>
                <a:ext cx="1259969" cy="156674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直接连接符 22"/>
              <p:cNvCxnSpPr>
                <a:stCxn id="65" idx="7"/>
                <a:endCxn id="67" idx="3"/>
              </p:cNvCxnSpPr>
              <p:nvPr/>
            </p:nvCxnSpPr>
            <p:spPr>
              <a:xfrm flipV="1">
                <a:off x="3343424" y="1758679"/>
                <a:ext cx="2250638" cy="76149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直接连接符 23"/>
              <p:cNvCxnSpPr>
                <a:stCxn id="67" idx="5"/>
                <a:endCxn id="66" idx="1"/>
              </p:cNvCxnSpPr>
              <p:nvPr/>
            </p:nvCxnSpPr>
            <p:spPr>
              <a:xfrm>
                <a:off x="5644974" y="1758679"/>
                <a:ext cx="625293" cy="97649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直接连接符 24"/>
              <p:cNvCxnSpPr>
                <a:stCxn id="64" idx="6"/>
                <a:endCxn id="66" idx="2"/>
              </p:cNvCxnSpPr>
              <p:nvPr/>
            </p:nvCxnSpPr>
            <p:spPr>
              <a:xfrm flipV="1">
                <a:off x="4712753" y="2760627"/>
                <a:ext cx="1546970" cy="85050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直接连接符 25"/>
              <p:cNvCxnSpPr>
                <a:stCxn id="66" idx="3"/>
                <a:endCxn id="70" idx="0"/>
              </p:cNvCxnSpPr>
              <p:nvPr/>
            </p:nvCxnSpPr>
            <p:spPr>
              <a:xfrm flipH="1">
                <a:off x="5547518" y="2786083"/>
                <a:ext cx="722749" cy="305167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直接连接符 26"/>
              <p:cNvCxnSpPr>
                <a:stCxn id="66" idx="0"/>
                <a:endCxn id="51" idx="3"/>
              </p:cNvCxnSpPr>
              <p:nvPr/>
            </p:nvCxnSpPr>
            <p:spPr>
              <a:xfrm flipV="1">
                <a:off x="6295723" y="1915353"/>
                <a:ext cx="630308" cy="809274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直接连接符 27"/>
              <p:cNvCxnSpPr>
                <a:stCxn id="66" idx="5"/>
                <a:endCxn id="71" idx="1"/>
              </p:cNvCxnSpPr>
              <p:nvPr/>
            </p:nvCxnSpPr>
            <p:spPr>
              <a:xfrm>
                <a:off x="6321179" y="2786083"/>
                <a:ext cx="698920" cy="841629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直接连接符 28"/>
              <p:cNvCxnSpPr>
                <a:stCxn id="71" idx="0"/>
                <a:endCxn id="51" idx="4"/>
              </p:cNvCxnSpPr>
              <p:nvPr/>
            </p:nvCxnSpPr>
            <p:spPr>
              <a:xfrm flipH="1" flipV="1">
                <a:off x="6951487" y="1925897"/>
                <a:ext cx="94068" cy="1691271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直接连接符 29"/>
              <p:cNvCxnSpPr>
                <a:stCxn id="71" idx="7"/>
                <a:endCxn id="54" idx="3"/>
              </p:cNvCxnSpPr>
              <p:nvPr/>
            </p:nvCxnSpPr>
            <p:spPr>
              <a:xfrm flipV="1">
                <a:off x="7071011" y="2770197"/>
                <a:ext cx="436307" cy="857515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直接连接符 30"/>
              <p:cNvCxnSpPr>
                <a:stCxn id="58" idx="1"/>
                <a:endCxn id="71" idx="5"/>
              </p:cNvCxnSpPr>
              <p:nvPr/>
            </p:nvCxnSpPr>
            <p:spPr>
              <a:xfrm flipH="1" flipV="1">
                <a:off x="7071011" y="3678624"/>
                <a:ext cx="413447" cy="1074055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直接连接符 31"/>
              <p:cNvCxnSpPr>
                <a:stCxn id="64" idx="4"/>
                <a:endCxn id="70" idx="1"/>
              </p:cNvCxnSpPr>
              <p:nvPr/>
            </p:nvCxnSpPr>
            <p:spPr>
              <a:xfrm>
                <a:off x="4676753" y="2881677"/>
                <a:ext cx="845309" cy="296662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直接连接符 32"/>
              <p:cNvCxnSpPr>
                <a:stCxn id="69" idx="5"/>
                <a:endCxn id="70" idx="1"/>
              </p:cNvCxnSpPr>
              <p:nvPr/>
            </p:nvCxnSpPr>
            <p:spPr>
              <a:xfrm>
                <a:off x="4294306" y="3707469"/>
                <a:ext cx="1227756" cy="2140836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直接连接符 33"/>
              <p:cNvCxnSpPr>
                <a:stCxn id="56" idx="5"/>
                <a:endCxn id="68" idx="1"/>
              </p:cNvCxnSpPr>
              <p:nvPr/>
            </p:nvCxnSpPr>
            <p:spPr>
              <a:xfrm>
                <a:off x="2494504" y="3761893"/>
                <a:ext cx="1006882" cy="1262023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直接连接符 34"/>
              <p:cNvCxnSpPr>
                <a:stCxn id="68" idx="7"/>
                <a:endCxn id="69" idx="2"/>
              </p:cNvCxnSpPr>
              <p:nvPr/>
            </p:nvCxnSpPr>
            <p:spPr>
              <a:xfrm flipV="1">
                <a:off x="3552298" y="3682013"/>
                <a:ext cx="680552" cy="1341903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直接连接符 35"/>
              <p:cNvCxnSpPr>
                <a:stCxn id="68" idx="0"/>
                <a:endCxn id="65" idx="4"/>
              </p:cNvCxnSpPr>
              <p:nvPr/>
            </p:nvCxnSpPr>
            <p:spPr>
              <a:xfrm flipH="1" flipV="1">
                <a:off x="3317968" y="2581627"/>
                <a:ext cx="208874" cy="2431745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直接连接符 36"/>
              <p:cNvCxnSpPr>
                <a:stCxn id="65" idx="1"/>
                <a:endCxn id="52" idx="4"/>
              </p:cNvCxnSpPr>
              <p:nvPr/>
            </p:nvCxnSpPr>
            <p:spPr>
              <a:xfrm flipH="1" flipV="1">
                <a:off x="3245968" y="1921650"/>
                <a:ext cx="46544" cy="598521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直接连接符 37"/>
              <p:cNvCxnSpPr>
                <a:stCxn id="59" idx="0"/>
                <a:endCxn id="71" idx="4"/>
              </p:cNvCxnSpPr>
              <p:nvPr/>
            </p:nvCxnSpPr>
            <p:spPr>
              <a:xfrm flipV="1">
                <a:off x="6960914" y="3689168"/>
                <a:ext cx="84641" cy="1889941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直接连接符 38"/>
              <p:cNvCxnSpPr>
                <a:stCxn id="71" idx="3"/>
                <a:endCxn id="70" idx="7"/>
              </p:cNvCxnSpPr>
              <p:nvPr/>
            </p:nvCxnSpPr>
            <p:spPr>
              <a:xfrm flipH="1">
                <a:off x="5572974" y="3678624"/>
                <a:ext cx="1447125" cy="2169681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直接连接符 39"/>
              <p:cNvCxnSpPr>
                <a:stCxn id="70" idx="6"/>
                <a:endCxn id="59" idx="2"/>
              </p:cNvCxnSpPr>
              <p:nvPr/>
            </p:nvCxnSpPr>
            <p:spPr>
              <a:xfrm flipV="1">
                <a:off x="5583518" y="5615109"/>
                <a:ext cx="1341396" cy="25865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直接连接符 40"/>
              <p:cNvCxnSpPr>
                <a:stCxn id="70" idx="5"/>
                <a:endCxn id="62" idx="1"/>
              </p:cNvCxnSpPr>
              <p:nvPr/>
            </p:nvCxnSpPr>
            <p:spPr>
              <a:xfrm>
                <a:off x="5572974" y="5899217"/>
                <a:ext cx="527898" cy="244415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直接连接符 41"/>
              <p:cNvCxnSpPr>
                <a:stCxn id="69" idx="0"/>
                <a:endCxn id="64" idx="3"/>
              </p:cNvCxnSpPr>
              <p:nvPr/>
            </p:nvCxnSpPr>
            <p:spPr>
              <a:xfrm flipV="1">
                <a:off x="4268850" y="2871133"/>
                <a:ext cx="382447" cy="774880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直接连接符 42"/>
              <p:cNvCxnSpPr>
                <a:stCxn id="68" idx="6"/>
                <a:endCxn id="70" idx="2"/>
              </p:cNvCxnSpPr>
              <p:nvPr/>
            </p:nvCxnSpPr>
            <p:spPr>
              <a:xfrm>
                <a:off x="3562842" y="5049372"/>
                <a:ext cx="1948676" cy="824389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直接连接符 43"/>
              <p:cNvCxnSpPr>
                <a:stCxn id="57" idx="6"/>
                <a:endCxn id="68" idx="2"/>
              </p:cNvCxnSpPr>
              <p:nvPr/>
            </p:nvCxnSpPr>
            <p:spPr>
              <a:xfrm>
                <a:off x="2723516" y="4804810"/>
                <a:ext cx="767326" cy="24456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直接连接符 44"/>
              <p:cNvCxnSpPr>
                <a:stCxn id="60" idx="7"/>
                <a:endCxn id="68" idx="3"/>
              </p:cNvCxnSpPr>
              <p:nvPr/>
            </p:nvCxnSpPr>
            <p:spPr>
              <a:xfrm flipV="1">
                <a:off x="3271424" y="5074828"/>
                <a:ext cx="229962" cy="51057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直接连接符 45"/>
              <p:cNvCxnSpPr>
                <a:stCxn id="61" idx="0"/>
                <a:endCxn id="68" idx="5"/>
              </p:cNvCxnSpPr>
              <p:nvPr/>
            </p:nvCxnSpPr>
            <p:spPr>
              <a:xfrm flipH="1" flipV="1">
                <a:off x="3552298" y="5074828"/>
                <a:ext cx="539139" cy="1058756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直接连接符 46"/>
              <p:cNvCxnSpPr>
                <a:stCxn id="61" idx="7"/>
                <a:endCxn id="70" idx="2"/>
              </p:cNvCxnSpPr>
              <p:nvPr/>
            </p:nvCxnSpPr>
            <p:spPr>
              <a:xfrm flipV="1">
                <a:off x="4116893" y="5873761"/>
                <a:ext cx="1394625" cy="270367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72" name="组合 71"/>
          <p:cNvGrpSpPr/>
          <p:nvPr/>
        </p:nvGrpSpPr>
        <p:grpSpPr>
          <a:xfrm>
            <a:off x="5781676" y="-1162247"/>
            <a:ext cx="5058729" cy="5053979"/>
            <a:chOff x="1308745" y="2394284"/>
            <a:chExt cx="2326780" cy="2324596"/>
          </a:xfrm>
        </p:grpSpPr>
        <p:pic>
          <p:nvPicPr>
            <p:cNvPr id="73" name="图片 72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00162" y="2491188"/>
              <a:ext cx="2143001" cy="2140801"/>
            </a:xfrm>
            <a:prstGeom prst="rect">
              <a:avLst/>
            </a:prstGeom>
          </p:spPr>
        </p:pic>
        <p:grpSp>
          <p:nvGrpSpPr>
            <p:cNvPr id="74" name="组合 73"/>
            <p:cNvGrpSpPr/>
            <p:nvPr/>
          </p:nvGrpSpPr>
          <p:grpSpPr>
            <a:xfrm>
              <a:off x="1308745" y="2394284"/>
              <a:ext cx="2326780" cy="2324596"/>
              <a:chOff x="2433048" y="1083945"/>
              <a:chExt cx="5333787" cy="5328780"/>
            </a:xfrm>
          </p:grpSpPr>
          <p:sp>
            <p:nvSpPr>
              <p:cNvPr id="75" name="十六角星 74"/>
              <p:cNvSpPr/>
              <p:nvPr/>
            </p:nvSpPr>
            <p:spPr>
              <a:xfrm>
                <a:off x="2470676" y="1127265"/>
                <a:ext cx="5254344" cy="5254344"/>
              </a:xfrm>
              <a:prstGeom prst="star16">
                <a:avLst>
                  <a:gd name="adj" fmla="val 49459"/>
                </a:avLst>
              </a:prstGeom>
              <a:noFill/>
              <a:ln w="6350">
                <a:solidFill>
                  <a:srgbClr val="9D819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grpSp>
            <p:nvGrpSpPr>
              <p:cNvPr id="76" name="组合 75"/>
              <p:cNvGrpSpPr/>
              <p:nvPr/>
            </p:nvGrpSpPr>
            <p:grpSpPr>
              <a:xfrm>
                <a:off x="2433048" y="1083945"/>
                <a:ext cx="5333787" cy="5328780"/>
                <a:chOff x="2280648" y="931545"/>
                <a:chExt cx="5333787" cy="5328780"/>
              </a:xfrm>
            </p:grpSpPr>
            <p:sp>
              <p:nvSpPr>
                <p:cNvPr id="113" name="椭圆 112"/>
                <p:cNvSpPr/>
                <p:nvPr/>
              </p:nvSpPr>
              <p:spPr>
                <a:xfrm>
                  <a:off x="3903037" y="1131665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14" name="椭圆 113"/>
                <p:cNvSpPr/>
                <p:nvPr/>
              </p:nvSpPr>
              <p:spPr>
                <a:xfrm>
                  <a:off x="4916848" y="931545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15" name="椭圆 114"/>
                <p:cNvSpPr/>
                <p:nvPr/>
              </p:nvSpPr>
              <p:spPr>
                <a:xfrm>
                  <a:off x="5937928" y="1131169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16" name="椭圆 115"/>
                <p:cNvSpPr/>
                <p:nvPr/>
              </p:nvSpPr>
              <p:spPr>
                <a:xfrm>
                  <a:off x="6763087" y="170149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17" name="椭圆 116"/>
                <p:cNvSpPr/>
                <p:nvPr/>
              </p:nvSpPr>
              <p:spPr>
                <a:xfrm>
                  <a:off x="3057568" y="1697250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18" name="椭圆 117"/>
                <p:cNvSpPr/>
                <p:nvPr/>
              </p:nvSpPr>
              <p:spPr>
                <a:xfrm>
                  <a:off x="2481128" y="2556341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19" name="椭圆 118"/>
                <p:cNvSpPr/>
                <p:nvPr/>
              </p:nvSpPr>
              <p:spPr>
                <a:xfrm>
                  <a:off x="7344374" y="2556341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20" name="椭圆 119"/>
                <p:cNvSpPr/>
                <p:nvPr/>
              </p:nvSpPr>
              <p:spPr>
                <a:xfrm>
                  <a:off x="7542435" y="354803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21" name="椭圆 120"/>
                <p:cNvSpPr/>
                <p:nvPr/>
              </p:nvSpPr>
              <p:spPr>
                <a:xfrm>
                  <a:off x="2280648" y="354803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22" name="椭圆 121"/>
                <p:cNvSpPr/>
                <p:nvPr/>
              </p:nvSpPr>
              <p:spPr>
                <a:xfrm>
                  <a:off x="2499116" y="4616410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23" name="椭圆 122"/>
                <p:cNvSpPr/>
                <p:nvPr/>
              </p:nvSpPr>
              <p:spPr>
                <a:xfrm>
                  <a:off x="7321514" y="4589735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24" name="椭圆 123"/>
                <p:cNvSpPr/>
                <p:nvPr/>
              </p:nvSpPr>
              <p:spPr>
                <a:xfrm>
                  <a:off x="6772514" y="5426709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25" name="椭圆 124"/>
                <p:cNvSpPr/>
                <p:nvPr/>
              </p:nvSpPr>
              <p:spPr>
                <a:xfrm>
                  <a:off x="3057568" y="5422462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26" name="椭圆 125"/>
                <p:cNvSpPr/>
                <p:nvPr/>
              </p:nvSpPr>
              <p:spPr>
                <a:xfrm>
                  <a:off x="3903037" y="5981184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27" name="椭圆 126"/>
                <p:cNvSpPr/>
                <p:nvPr/>
              </p:nvSpPr>
              <p:spPr>
                <a:xfrm>
                  <a:off x="5937928" y="5980688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28" name="椭圆 127"/>
                <p:cNvSpPr/>
                <p:nvPr/>
              </p:nvSpPr>
              <p:spPr>
                <a:xfrm>
                  <a:off x="4916848" y="6188325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29" name="椭圆 128"/>
                <p:cNvSpPr/>
                <p:nvPr/>
              </p:nvSpPr>
              <p:spPr>
                <a:xfrm>
                  <a:off x="4488353" y="265727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30" name="椭圆 129"/>
                <p:cNvSpPr/>
                <p:nvPr/>
              </p:nvSpPr>
              <p:spPr>
                <a:xfrm>
                  <a:off x="3129568" y="235722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31" name="椭圆 130"/>
                <p:cNvSpPr/>
                <p:nvPr/>
              </p:nvSpPr>
              <p:spPr>
                <a:xfrm>
                  <a:off x="6107323" y="2572227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32" name="椭圆 131"/>
                <p:cNvSpPr/>
                <p:nvPr/>
              </p:nvSpPr>
              <p:spPr>
                <a:xfrm>
                  <a:off x="5431118" y="1544823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33" name="椭圆 132"/>
                <p:cNvSpPr/>
                <p:nvPr/>
              </p:nvSpPr>
              <p:spPr>
                <a:xfrm>
                  <a:off x="3338442" y="4860972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34" name="椭圆 133"/>
                <p:cNvSpPr/>
                <p:nvPr/>
              </p:nvSpPr>
              <p:spPr>
                <a:xfrm>
                  <a:off x="4080450" y="3493613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35" name="椭圆 134"/>
                <p:cNvSpPr/>
                <p:nvPr/>
              </p:nvSpPr>
              <p:spPr>
                <a:xfrm>
                  <a:off x="5359118" y="5685361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sp>
              <p:nvSpPr>
                <p:cNvPr id="136" name="椭圆 135"/>
                <p:cNvSpPr/>
                <p:nvPr/>
              </p:nvSpPr>
              <p:spPr>
                <a:xfrm>
                  <a:off x="6857155" y="3464768"/>
                  <a:ext cx="72000" cy="72000"/>
                </a:xfrm>
                <a:prstGeom prst="ellipse">
                  <a:avLst/>
                </a:prstGeom>
                <a:solidFill>
                  <a:srgbClr val="9D81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</p:grpSp>
          <p:cxnSp>
            <p:nvCxnSpPr>
              <p:cNvPr id="77" name="直接连接符 76"/>
              <p:cNvCxnSpPr>
                <a:stCxn id="114" idx="4"/>
                <a:endCxn id="132" idx="0"/>
              </p:cNvCxnSpPr>
              <p:nvPr/>
            </p:nvCxnSpPr>
            <p:spPr>
              <a:xfrm>
                <a:off x="5105248" y="1155945"/>
                <a:ext cx="514270" cy="54127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直接连接符 77"/>
              <p:cNvCxnSpPr>
                <a:stCxn id="113" idx="5"/>
                <a:endCxn id="132" idx="2"/>
              </p:cNvCxnSpPr>
              <p:nvPr/>
            </p:nvCxnSpPr>
            <p:spPr>
              <a:xfrm>
                <a:off x="4116893" y="1345521"/>
                <a:ext cx="1466625" cy="38770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直接连接符 78"/>
              <p:cNvCxnSpPr>
                <a:stCxn id="130" idx="0"/>
                <a:endCxn id="113" idx="4"/>
              </p:cNvCxnSpPr>
              <p:nvPr/>
            </p:nvCxnSpPr>
            <p:spPr>
              <a:xfrm flipV="1">
                <a:off x="3317968" y="1356065"/>
                <a:ext cx="773469" cy="115356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直接连接符 79"/>
              <p:cNvCxnSpPr>
                <a:stCxn id="135" idx="3"/>
                <a:endCxn id="128" idx="0"/>
              </p:cNvCxnSpPr>
              <p:nvPr/>
            </p:nvCxnSpPr>
            <p:spPr>
              <a:xfrm flipH="1">
                <a:off x="5105248" y="5899217"/>
                <a:ext cx="416814" cy="44150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直接连接符 80"/>
              <p:cNvCxnSpPr>
                <a:stCxn id="118" idx="6"/>
              </p:cNvCxnSpPr>
              <p:nvPr/>
            </p:nvCxnSpPr>
            <p:spPr>
              <a:xfrm flipV="1">
                <a:off x="2705528" y="2545627"/>
                <a:ext cx="576440" cy="199114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直接连接符 81"/>
              <p:cNvCxnSpPr>
                <a:stCxn id="130" idx="6"/>
                <a:endCxn id="129" idx="2"/>
              </p:cNvCxnSpPr>
              <p:nvPr/>
            </p:nvCxnSpPr>
            <p:spPr>
              <a:xfrm>
                <a:off x="3353968" y="2545627"/>
                <a:ext cx="1286785" cy="300050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直接连接符 82"/>
              <p:cNvCxnSpPr>
                <a:stCxn id="129" idx="0"/>
                <a:endCxn id="132" idx="4"/>
              </p:cNvCxnSpPr>
              <p:nvPr/>
            </p:nvCxnSpPr>
            <p:spPr>
              <a:xfrm flipV="1">
                <a:off x="4676753" y="1769223"/>
                <a:ext cx="942765" cy="1040454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直接连接符 83"/>
              <p:cNvCxnSpPr>
                <a:stCxn id="121" idx="7"/>
                <a:endCxn id="130" idx="3"/>
              </p:cNvCxnSpPr>
              <p:nvPr/>
            </p:nvCxnSpPr>
            <p:spPr>
              <a:xfrm flipV="1">
                <a:off x="2494504" y="2571083"/>
                <a:ext cx="798008" cy="113989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直接连接符 84"/>
              <p:cNvCxnSpPr>
                <a:stCxn id="130" idx="5"/>
                <a:endCxn id="134" idx="1"/>
              </p:cNvCxnSpPr>
              <p:nvPr/>
            </p:nvCxnSpPr>
            <p:spPr>
              <a:xfrm>
                <a:off x="3343424" y="2571083"/>
                <a:ext cx="899970" cy="1085474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直接连接符 85"/>
              <p:cNvCxnSpPr>
                <a:stCxn id="132" idx="7"/>
                <a:endCxn id="115" idx="3"/>
              </p:cNvCxnSpPr>
              <p:nvPr/>
            </p:nvCxnSpPr>
            <p:spPr>
              <a:xfrm flipV="1">
                <a:off x="5644974" y="1345025"/>
                <a:ext cx="455898" cy="36274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直接连接符 86"/>
              <p:cNvCxnSpPr>
                <a:stCxn id="132" idx="6"/>
                <a:endCxn id="116" idx="2"/>
              </p:cNvCxnSpPr>
              <p:nvPr/>
            </p:nvCxnSpPr>
            <p:spPr>
              <a:xfrm>
                <a:off x="5655518" y="1733223"/>
                <a:ext cx="1259969" cy="156674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直接连接符 87"/>
              <p:cNvCxnSpPr>
                <a:stCxn id="130" idx="7"/>
                <a:endCxn id="132" idx="3"/>
              </p:cNvCxnSpPr>
              <p:nvPr/>
            </p:nvCxnSpPr>
            <p:spPr>
              <a:xfrm flipV="1">
                <a:off x="3343424" y="1758679"/>
                <a:ext cx="2250638" cy="76149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直接连接符 88"/>
              <p:cNvCxnSpPr>
                <a:stCxn id="132" idx="5"/>
                <a:endCxn id="131" idx="1"/>
              </p:cNvCxnSpPr>
              <p:nvPr/>
            </p:nvCxnSpPr>
            <p:spPr>
              <a:xfrm>
                <a:off x="5644974" y="1758679"/>
                <a:ext cx="625293" cy="97649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直接连接符 89"/>
              <p:cNvCxnSpPr>
                <a:stCxn id="129" idx="6"/>
                <a:endCxn id="131" idx="2"/>
              </p:cNvCxnSpPr>
              <p:nvPr/>
            </p:nvCxnSpPr>
            <p:spPr>
              <a:xfrm flipV="1">
                <a:off x="4712753" y="2760627"/>
                <a:ext cx="1546970" cy="85050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直接连接符 90"/>
              <p:cNvCxnSpPr>
                <a:stCxn id="131" idx="3"/>
                <a:endCxn id="135" idx="0"/>
              </p:cNvCxnSpPr>
              <p:nvPr/>
            </p:nvCxnSpPr>
            <p:spPr>
              <a:xfrm flipH="1">
                <a:off x="5547518" y="2786083"/>
                <a:ext cx="722749" cy="305167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直接连接符 91"/>
              <p:cNvCxnSpPr>
                <a:stCxn id="131" idx="0"/>
                <a:endCxn id="116" idx="3"/>
              </p:cNvCxnSpPr>
              <p:nvPr/>
            </p:nvCxnSpPr>
            <p:spPr>
              <a:xfrm flipV="1">
                <a:off x="6295723" y="1915353"/>
                <a:ext cx="630308" cy="809274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直接连接符 92"/>
              <p:cNvCxnSpPr>
                <a:stCxn id="131" idx="5"/>
                <a:endCxn id="136" idx="1"/>
              </p:cNvCxnSpPr>
              <p:nvPr/>
            </p:nvCxnSpPr>
            <p:spPr>
              <a:xfrm>
                <a:off x="6321179" y="2786083"/>
                <a:ext cx="698920" cy="841629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直接连接符 93"/>
              <p:cNvCxnSpPr>
                <a:stCxn id="136" idx="0"/>
                <a:endCxn id="116" idx="4"/>
              </p:cNvCxnSpPr>
              <p:nvPr/>
            </p:nvCxnSpPr>
            <p:spPr>
              <a:xfrm flipH="1" flipV="1">
                <a:off x="6951487" y="1925897"/>
                <a:ext cx="94068" cy="1691271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直接连接符 94"/>
              <p:cNvCxnSpPr>
                <a:stCxn id="136" idx="7"/>
                <a:endCxn id="119" idx="3"/>
              </p:cNvCxnSpPr>
              <p:nvPr/>
            </p:nvCxnSpPr>
            <p:spPr>
              <a:xfrm flipV="1">
                <a:off x="7071011" y="2770197"/>
                <a:ext cx="436307" cy="857515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直接连接符 95"/>
              <p:cNvCxnSpPr>
                <a:stCxn id="123" idx="1"/>
                <a:endCxn id="136" idx="5"/>
              </p:cNvCxnSpPr>
              <p:nvPr/>
            </p:nvCxnSpPr>
            <p:spPr>
              <a:xfrm flipH="1" flipV="1">
                <a:off x="7071011" y="3678624"/>
                <a:ext cx="413447" cy="1074055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" name="直接连接符 96"/>
              <p:cNvCxnSpPr>
                <a:stCxn id="129" idx="4"/>
                <a:endCxn id="135" idx="1"/>
              </p:cNvCxnSpPr>
              <p:nvPr/>
            </p:nvCxnSpPr>
            <p:spPr>
              <a:xfrm>
                <a:off x="4676753" y="2881677"/>
                <a:ext cx="845309" cy="296662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直接连接符 97"/>
              <p:cNvCxnSpPr>
                <a:stCxn id="134" idx="5"/>
                <a:endCxn id="135" idx="1"/>
              </p:cNvCxnSpPr>
              <p:nvPr/>
            </p:nvCxnSpPr>
            <p:spPr>
              <a:xfrm>
                <a:off x="4294306" y="3707469"/>
                <a:ext cx="1227756" cy="2140836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直接连接符 98"/>
              <p:cNvCxnSpPr>
                <a:stCxn id="121" idx="5"/>
                <a:endCxn id="133" idx="1"/>
              </p:cNvCxnSpPr>
              <p:nvPr/>
            </p:nvCxnSpPr>
            <p:spPr>
              <a:xfrm>
                <a:off x="2494504" y="3761893"/>
                <a:ext cx="1006882" cy="1262023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直接连接符 99"/>
              <p:cNvCxnSpPr>
                <a:stCxn id="133" idx="7"/>
                <a:endCxn id="134" idx="2"/>
              </p:cNvCxnSpPr>
              <p:nvPr/>
            </p:nvCxnSpPr>
            <p:spPr>
              <a:xfrm flipV="1">
                <a:off x="3552298" y="3682013"/>
                <a:ext cx="680552" cy="1341903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直接连接符 100"/>
              <p:cNvCxnSpPr>
                <a:stCxn id="133" idx="0"/>
                <a:endCxn id="130" idx="4"/>
              </p:cNvCxnSpPr>
              <p:nvPr/>
            </p:nvCxnSpPr>
            <p:spPr>
              <a:xfrm flipH="1" flipV="1">
                <a:off x="3317968" y="2581627"/>
                <a:ext cx="208874" cy="2431745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直接连接符 101"/>
              <p:cNvCxnSpPr>
                <a:stCxn id="130" idx="1"/>
                <a:endCxn id="117" idx="4"/>
              </p:cNvCxnSpPr>
              <p:nvPr/>
            </p:nvCxnSpPr>
            <p:spPr>
              <a:xfrm flipH="1" flipV="1">
                <a:off x="3245968" y="1921650"/>
                <a:ext cx="46544" cy="598521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直接连接符 102"/>
              <p:cNvCxnSpPr>
                <a:stCxn id="124" idx="0"/>
                <a:endCxn id="136" idx="4"/>
              </p:cNvCxnSpPr>
              <p:nvPr/>
            </p:nvCxnSpPr>
            <p:spPr>
              <a:xfrm flipV="1">
                <a:off x="6960914" y="3689168"/>
                <a:ext cx="84641" cy="1889941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直接连接符 103"/>
              <p:cNvCxnSpPr>
                <a:stCxn id="136" idx="3"/>
                <a:endCxn id="135" idx="7"/>
              </p:cNvCxnSpPr>
              <p:nvPr/>
            </p:nvCxnSpPr>
            <p:spPr>
              <a:xfrm flipH="1">
                <a:off x="5572974" y="3678624"/>
                <a:ext cx="1447125" cy="2169681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直接连接符 104"/>
              <p:cNvCxnSpPr>
                <a:stCxn id="135" idx="6"/>
                <a:endCxn id="124" idx="2"/>
              </p:cNvCxnSpPr>
              <p:nvPr/>
            </p:nvCxnSpPr>
            <p:spPr>
              <a:xfrm flipV="1">
                <a:off x="5583518" y="5615109"/>
                <a:ext cx="1341396" cy="25865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直接连接符 105"/>
              <p:cNvCxnSpPr>
                <a:stCxn id="135" idx="5"/>
                <a:endCxn id="127" idx="1"/>
              </p:cNvCxnSpPr>
              <p:nvPr/>
            </p:nvCxnSpPr>
            <p:spPr>
              <a:xfrm>
                <a:off x="5572974" y="5899217"/>
                <a:ext cx="527898" cy="244415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直接连接符 106"/>
              <p:cNvCxnSpPr>
                <a:stCxn id="134" idx="0"/>
                <a:endCxn id="129" idx="3"/>
              </p:cNvCxnSpPr>
              <p:nvPr/>
            </p:nvCxnSpPr>
            <p:spPr>
              <a:xfrm flipV="1">
                <a:off x="4268850" y="2871133"/>
                <a:ext cx="382447" cy="774880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直接连接符 107"/>
              <p:cNvCxnSpPr>
                <a:stCxn id="133" idx="6"/>
                <a:endCxn id="135" idx="2"/>
              </p:cNvCxnSpPr>
              <p:nvPr/>
            </p:nvCxnSpPr>
            <p:spPr>
              <a:xfrm>
                <a:off x="3562842" y="5049372"/>
                <a:ext cx="1948676" cy="824389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直接连接符 108"/>
              <p:cNvCxnSpPr>
                <a:stCxn id="122" idx="6"/>
                <a:endCxn id="133" idx="2"/>
              </p:cNvCxnSpPr>
              <p:nvPr/>
            </p:nvCxnSpPr>
            <p:spPr>
              <a:xfrm>
                <a:off x="2723516" y="4804810"/>
                <a:ext cx="767326" cy="244562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直接连接符 109"/>
              <p:cNvCxnSpPr>
                <a:stCxn id="125" idx="7"/>
                <a:endCxn id="133" idx="3"/>
              </p:cNvCxnSpPr>
              <p:nvPr/>
            </p:nvCxnSpPr>
            <p:spPr>
              <a:xfrm flipV="1">
                <a:off x="3271424" y="5074828"/>
                <a:ext cx="229962" cy="510578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直接连接符 110"/>
              <p:cNvCxnSpPr>
                <a:stCxn id="126" idx="0"/>
                <a:endCxn id="133" idx="5"/>
              </p:cNvCxnSpPr>
              <p:nvPr/>
            </p:nvCxnSpPr>
            <p:spPr>
              <a:xfrm flipH="1" flipV="1">
                <a:off x="3552298" y="5074828"/>
                <a:ext cx="539139" cy="1058756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直接连接符 111"/>
              <p:cNvCxnSpPr>
                <a:stCxn id="126" idx="7"/>
                <a:endCxn id="135" idx="2"/>
              </p:cNvCxnSpPr>
              <p:nvPr/>
            </p:nvCxnSpPr>
            <p:spPr>
              <a:xfrm flipV="1">
                <a:off x="4116893" y="5873761"/>
                <a:ext cx="1394625" cy="270367"/>
              </a:xfrm>
              <a:prstGeom prst="line">
                <a:avLst/>
              </a:prstGeom>
              <a:ln>
                <a:solidFill>
                  <a:srgbClr val="9D819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37" name="文本框 136"/>
          <p:cNvSpPr txBox="1"/>
          <p:nvPr/>
        </p:nvSpPr>
        <p:spPr>
          <a:xfrm>
            <a:off x="3564468" y="311227"/>
            <a:ext cx="1999576" cy="35979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17999" b="1" dirty="0">
                <a:solidFill>
                  <a:srgbClr val="9D8199">
                    <a:alpha val="60000"/>
                  </a:srgbClr>
                </a:solidFill>
                <a:latin typeface="方正兰亭粗黑简体" panose="02000000000000000000" pitchFamily="2" charset="-122"/>
                <a:ea typeface="方正兰亭粗黑简体" panose="02000000000000000000" pitchFamily="2" charset="-122"/>
              </a:rPr>
              <a:t>2</a:t>
            </a:r>
          </a:p>
        </p:txBody>
      </p:sp>
      <p:sp>
        <p:nvSpPr>
          <p:cNvPr id="139" name="文本框 138"/>
          <p:cNvSpPr txBox="1"/>
          <p:nvPr/>
        </p:nvSpPr>
        <p:spPr>
          <a:xfrm>
            <a:off x="3276579" y="3449353"/>
            <a:ext cx="2664192" cy="743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3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系统框架</a:t>
            </a:r>
            <a:endParaRPr lang="en-US" altLang="zh-CN" sz="1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0" name="等腰三角形 139"/>
          <p:cNvSpPr/>
          <p:nvPr/>
        </p:nvSpPr>
        <p:spPr>
          <a:xfrm rot="2134315">
            <a:off x="5998599" y="1614964"/>
            <a:ext cx="289510" cy="249578"/>
          </a:xfrm>
          <a:prstGeom prst="triangle">
            <a:avLst/>
          </a:prstGeom>
          <a:solidFill>
            <a:srgbClr val="663B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013"/>
          </a:p>
        </p:txBody>
      </p:sp>
      <p:sp>
        <p:nvSpPr>
          <p:cNvPr id="141" name="等腰三角形 140"/>
          <p:cNvSpPr/>
          <p:nvPr/>
        </p:nvSpPr>
        <p:spPr>
          <a:xfrm rot="12600000">
            <a:off x="5197448" y="1171321"/>
            <a:ext cx="227683" cy="196278"/>
          </a:xfrm>
          <a:prstGeom prst="triangle">
            <a:avLst/>
          </a:prstGeom>
          <a:solidFill>
            <a:srgbClr val="A252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013"/>
          </a:p>
        </p:txBody>
      </p:sp>
      <p:sp>
        <p:nvSpPr>
          <p:cNvPr id="142" name="等腰三角形 141"/>
          <p:cNvSpPr/>
          <p:nvPr/>
        </p:nvSpPr>
        <p:spPr>
          <a:xfrm rot="460079">
            <a:off x="5608284" y="1067368"/>
            <a:ext cx="384542" cy="331501"/>
          </a:xfrm>
          <a:prstGeom prst="triangle">
            <a:avLst/>
          </a:prstGeom>
          <a:solidFill>
            <a:srgbClr val="8A37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013"/>
          </a:p>
        </p:txBody>
      </p:sp>
    </p:spTree>
    <p:extLst>
      <p:ext uri="{BB962C8B-B14F-4D97-AF65-F5344CB8AC3E}">
        <p14:creationId xmlns:p14="http://schemas.microsoft.com/office/powerpoint/2010/main" val="3972638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Tm="0">
        <p:blinds dir="vert"/>
      </p:transition>
    </mc:Choice>
    <mc:Fallback xmlns="">
      <p:transition spd="slow" advTm="0">
        <p:blinds dir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9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250" fill="hold"/>
                                        <p:tgtEl>
                                          <p:spTgt spid="1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250" fill="hold"/>
                                        <p:tgtEl>
                                          <p:spTgt spid="1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8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Rot by="10800000">
                                      <p:cBhvr>
                                        <p:cTn id="10" dur="1250" fill="hold"/>
                                        <p:tgtEl>
                                          <p:spTgt spid="14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" presetID="2" presetClass="entr" presetSubtype="9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1250" fill="hold"/>
                                        <p:tgtEl>
                                          <p:spTgt spid="1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1250" fill="hold"/>
                                        <p:tgtEl>
                                          <p:spTgt spid="1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8" presetClass="emph" presetSubtype="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Rot by="-10800000">
                                      <p:cBhvr>
                                        <p:cTn id="16" dur="1250" fill="hold"/>
                                        <p:tgtEl>
                                          <p:spTgt spid="14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7" presetID="2" presetClass="entr" presetSubtype="9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250" fill="hold"/>
                                        <p:tgtEl>
                                          <p:spTgt spid="1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250" fill="hold"/>
                                        <p:tgtEl>
                                          <p:spTgt spid="1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8" presetClass="emph" presetSubtype="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Rot by="10800000">
                                      <p:cBhvr>
                                        <p:cTn id="22" dur="1250" fill="hold"/>
                                        <p:tgtEl>
                                          <p:spTgt spid="14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3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3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3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8" presetClass="emph" presetSubtype="0" repeatCount="2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29" dur="3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3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3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30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8" presetClass="emph" presetSubtype="0" repeatCount="2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36" dur="3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7" presetID="2" presetClass="entr" presetSubtype="4" fill="hold" grpId="0" nodeType="withEffect">
                                  <p:stCondLst>
                                    <p:cond delay="35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1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1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47" presetClass="entr" presetSubtype="0" fill="hold" grpId="0" nodeType="withEffect">
                                  <p:stCondLst>
                                    <p:cond delay="375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3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7" grpId="0"/>
      <p:bldP spid="139" grpId="0"/>
      <p:bldP spid="140" grpId="0" animBg="1"/>
      <p:bldP spid="140" grpId="1" animBg="1"/>
      <p:bldP spid="141" grpId="0" animBg="1"/>
      <p:bldP spid="141" grpId="1" animBg="1"/>
      <p:bldP spid="142" grpId="0" animBg="1"/>
      <p:bldP spid="142" grpId="1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合 3"/>
          <p:cNvGrpSpPr/>
          <p:nvPr/>
        </p:nvGrpSpPr>
        <p:grpSpPr>
          <a:xfrm>
            <a:off x="183398" y="425317"/>
            <a:ext cx="846443" cy="659285"/>
            <a:chOff x="5896029" y="567090"/>
            <a:chExt cx="2542304" cy="1980172"/>
          </a:xfrm>
        </p:grpSpPr>
        <p:grpSp>
          <p:nvGrpSpPr>
            <p:cNvPr id="5" name="组合 4"/>
            <p:cNvGrpSpPr/>
            <p:nvPr/>
          </p:nvGrpSpPr>
          <p:grpSpPr>
            <a:xfrm>
              <a:off x="6157182" y="567090"/>
              <a:ext cx="1982032" cy="1980172"/>
              <a:chOff x="6309221" y="788029"/>
              <a:chExt cx="2825105" cy="2822453"/>
            </a:xfrm>
          </p:grpSpPr>
          <p:sp>
            <p:nvSpPr>
              <p:cNvPr id="8" name="椭圆 7"/>
              <p:cNvSpPr/>
              <p:nvPr/>
            </p:nvSpPr>
            <p:spPr>
              <a:xfrm>
                <a:off x="6461555" y="939037"/>
                <a:ext cx="2520437" cy="2520437"/>
              </a:xfrm>
              <a:prstGeom prst="ellipse">
                <a:avLst/>
              </a:prstGeom>
              <a:solidFill>
                <a:srgbClr val="2921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grpSp>
            <p:nvGrpSpPr>
              <p:cNvPr id="9" name="组合 8"/>
              <p:cNvGrpSpPr/>
              <p:nvPr/>
            </p:nvGrpSpPr>
            <p:grpSpPr>
              <a:xfrm>
                <a:off x="6309221" y="788029"/>
                <a:ext cx="2825105" cy="2822453"/>
                <a:chOff x="2433048" y="1083945"/>
                <a:chExt cx="5333787" cy="5328780"/>
              </a:xfrm>
            </p:grpSpPr>
            <p:sp>
              <p:nvSpPr>
                <p:cNvPr id="10" name="十六角星 9"/>
                <p:cNvSpPr/>
                <p:nvPr/>
              </p:nvSpPr>
              <p:spPr>
                <a:xfrm>
                  <a:off x="2470676" y="1127265"/>
                  <a:ext cx="5254344" cy="5254344"/>
                </a:xfrm>
                <a:prstGeom prst="star16">
                  <a:avLst>
                    <a:gd name="adj" fmla="val 49459"/>
                  </a:avLst>
                </a:prstGeom>
                <a:noFill/>
                <a:ln w="6350">
                  <a:solidFill>
                    <a:srgbClr val="9D819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grpSp>
              <p:nvGrpSpPr>
                <p:cNvPr id="11" name="组合 10"/>
                <p:cNvGrpSpPr/>
                <p:nvPr/>
              </p:nvGrpSpPr>
              <p:grpSpPr>
                <a:xfrm>
                  <a:off x="2433048" y="1083945"/>
                  <a:ext cx="5333787" cy="5328780"/>
                  <a:chOff x="2280648" y="931545"/>
                  <a:chExt cx="5333787" cy="5328780"/>
                </a:xfrm>
              </p:grpSpPr>
              <p:sp>
                <p:nvSpPr>
                  <p:cNvPr id="48" name="椭圆 47"/>
                  <p:cNvSpPr/>
                  <p:nvPr/>
                </p:nvSpPr>
                <p:spPr>
                  <a:xfrm>
                    <a:off x="3903037" y="113166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49" name="椭圆 48"/>
                  <p:cNvSpPr/>
                  <p:nvPr/>
                </p:nvSpPr>
                <p:spPr>
                  <a:xfrm>
                    <a:off x="4916848" y="93154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0" name="椭圆 49"/>
                  <p:cNvSpPr/>
                  <p:nvPr/>
                </p:nvSpPr>
                <p:spPr>
                  <a:xfrm>
                    <a:off x="5937928" y="113116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1" name="椭圆 50"/>
                  <p:cNvSpPr/>
                  <p:nvPr/>
                </p:nvSpPr>
                <p:spPr>
                  <a:xfrm>
                    <a:off x="6763087" y="170149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2" name="椭圆 51"/>
                  <p:cNvSpPr/>
                  <p:nvPr/>
                </p:nvSpPr>
                <p:spPr>
                  <a:xfrm>
                    <a:off x="3057568" y="169725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3" name="椭圆 52"/>
                  <p:cNvSpPr/>
                  <p:nvPr/>
                </p:nvSpPr>
                <p:spPr>
                  <a:xfrm>
                    <a:off x="2481128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4" name="椭圆 53"/>
                  <p:cNvSpPr/>
                  <p:nvPr/>
                </p:nvSpPr>
                <p:spPr>
                  <a:xfrm>
                    <a:off x="7344374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5" name="椭圆 54"/>
                  <p:cNvSpPr/>
                  <p:nvPr/>
                </p:nvSpPr>
                <p:spPr>
                  <a:xfrm>
                    <a:off x="7542435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6" name="椭圆 55"/>
                  <p:cNvSpPr/>
                  <p:nvPr/>
                </p:nvSpPr>
                <p:spPr>
                  <a:xfrm>
                    <a:off x="2280648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7" name="椭圆 56"/>
                  <p:cNvSpPr/>
                  <p:nvPr/>
                </p:nvSpPr>
                <p:spPr>
                  <a:xfrm>
                    <a:off x="2499116" y="461641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8" name="椭圆 57"/>
                  <p:cNvSpPr/>
                  <p:nvPr/>
                </p:nvSpPr>
                <p:spPr>
                  <a:xfrm>
                    <a:off x="7321514" y="458973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9" name="椭圆 58"/>
                  <p:cNvSpPr/>
                  <p:nvPr/>
                </p:nvSpPr>
                <p:spPr>
                  <a:xfrm>
                    <a:off x="6772514" y="542670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0" name="椭圆 59"/>
                  <p:cNvSpPr/>
                  <p:nvPr/>
                </p:nvSpPr>
                <p:spPr>
                  <a:xfrm>
                    <a:off x="3057568" y="542246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1" name="椭圆 60"/>
                  <p:cNvSpPr/>
                  <p:nvPr/>
                </p:nvSpPr>
                <p:spPr>
                  <a:xfrm>
                    <a:off x="3903037" y="5981184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2" name="椭圆 61"/>
                  <p:cNvSpPr/>
                  <p:nvPr/>
                </p:nvSpPr>
                <p:spPr>
                  <a:xfrm>
                    <a:off x="5937928" y="598068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3" name="椭圆 62"/>
                  <p:cNvSpPr/>
                  <p:nvPr/>
                </p:nvSpPr>
                <p:spPr>
                  <a:xfrm>
                    <a:off x="4916848" y="618832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4" name="椭圆 63"/>
                  <p:cNvSpPr/>
                  <p:nvPr/>
                </p:nvSpPr>
                <p:spPr>
                  <a:xfrm>
                    <a:off x="4488353" y="265727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5" name="椭圆 64"/>
                  <p:cNvSpPr/>
                  <p:nvPr/>
                </p:nvSpPr>
                <p:spPr>
                  <a:xfrm>
                    <a:off x="3129568" y="2357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6" name="椭圆 65"/>
                  <p:cNvSpPr/>
                  <p:nvPr/>
                </p:nvSpPr>
                <p:spPr>
                  <a:xfrm>
                    <a:off x="6107323" y="2572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7" name="椭圆 66"/>
                  <p:cNvSpPr/>
                  <p:nvPr/>
                </p:nvSpPr>
                <p:spPr>
                  <a:xfrm>
                    <a:off x="5431118" y="154482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8" name="椭圆 67"/>
                  <p:cNvSpPr/>
                  <p:nvPr/>
                </p:nvSpPr>
                <p:spPr>
                  <a:xfrm>
                    <a:off x="3338442" y="486097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9" name="椭圆 68"/>
                  <p:cNvSpPr/>
                  <p:nvPr/>
                </p:nvSpPr>
                <p:spPr>
                  <a:xfrm>
                    <a:off x="4080450" y="349361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70" name="椭圆 69"/>
                  <p:cNvSpPr/>
                  <p:nvPr/>
                </p:nvSpPr>
                <p:spPr>
                  <a:xfrm>
                    <a:off x="5359118" y="568536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71" name="椭圆 70"/>
                  <p:cNvSpPr/>
                  <p:nvPr/>
                </p:nvSpPr>
                <p:spPr>
                  <a:xfrm>
                    <a:off x="6857155" y="346476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</p:grpSp>
            <p:cxnSp>
              <p:nvCxnSpPr>
                <p:cNvPr id="12" name="直接连接符 11"/>
                <p:cNvCxnSpPr>
                  <a:stCxn id="49" idx="4"/>
                  <a:endCxn id="67" idx="0"/>
                </p:cNvCxnSpPr>
                <p:nvPr/>
              </p:nvCxnSpPr>
              <p:spPr>
                <a:xfrm>
                  <a:off x="5105248" y="1155945"/>
                  <a:ext cx="514270" cy="5412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" name="直接连接符 12"/>
                <p:cNvCxnSpPr>
                  <a:stCxn id="48" idx="5"/>
                  <a:endCxn id="67" idx="2"/>
                </p:cNvCxnSpPr>
                <p:nvPr/>
              </p:nvCxnSpPr>
              <p:spPr>
                <a:xfrm>
                  <a:off x="4116893" y="1345521"/>
                  <a:ext cx="1466625" cy="38770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" name="直接连接符 13"/>
                <p:cNvCxnSpPr>
                  <a:stCxn id="65" idx="0"/>
                  <a:endCxn id="48" idx="4"/>
                </p:cNvCxnSpPr>
                <p:nvPr/>
              </p:nvCxnSpPr>
              <p:spPr>
                <a:xfrm flipV="1">
                  <a:off x="3317968" y="1356065"/>
                  <a:ext cx="773469" cy="1153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" name="直接连接符 14"/>
                <p:cNvCxnSpPr>
                  <a:stCxn id="70" idx="3"/>
                  <a:endCxn id="63" idx="0"/>
                </p:cNvCxnSpPr>
                <p:nvPr/>
              </p:nvCxnSpPr>
              <p:spPr>
                <a:xfrm flipH="1">
                  <a:off x="5105248" y="5899217"/>
                  <a:ext cx="416814" cy="44150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" name="直接连接符 15"/>
                <p:cNvCxnSpPr>
                  <a:stCxn id="53" idx="6"/>
                </p:cNvCxnSpPr>
                <p:nvPr/>
              </p:nvCxnSpPr>
              <p:spPr>
                <a:xfrm flipV="1">
                  <a:off x="2705528" y="2545627"/>
                  <a:ext cx="576440" cy="19911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" name="直接连接符 16"/>
                <p:cNvCxnSpPr>
                  <a:stCxn id="65" idx="6"/>
                  <a:endCxn id="64" idx="2"/>
                </p:cNvCxnSpPr>
                <p:nvPr/>
              </p:nvCxnSpPr>
              <p:spPr>
                <a:xfrm>
                  <a:off x="3353968" y="2545627"/>
                  <a:ext cx="1286785" cy="300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" name="直接连接符 17"/>
                <p:cNvCxnSpPr>
                  <a:stCxn id="64" idx="0"/>
                  <a:endCxn id="67" idx="4"/>
                </p:cNvCxnSpPr>
                <p:nvPr/>
              </p:nvCxnSpPr>
              <p:spPr>
                <a:xfrm flipV="1">
                  <a:off x="4676753" y="1769223"/>
                  <a:ext cx="942765" cy="104045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" name="直接连接符 18"/>
                <p:cNvCxnSpPr>
                  <a:stCxn id="56" idx="7"/>
                  <a:endCxn id="65" idx="3"/>
                </p:cNvCxnSpPr>
                <p:nvPr/>
              </p:nvCxnSpPr>
              <p:spPr>
                <a:xfrm flipV="1">
                  <a:off x="2494504" y="2571083"/>
                  <a:ext cx="798008" cy="113989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" name="直接连接符 19"/>
                <p:cNvCxnSpPr>
                  <a:stCxn id="65" idx="5"/>
                  <a:endCxn id="69" idx="1"/>
                </p:cNvCxnSpPr>
                <p:nvPr/>
              </p:nvCxnSpPr>
              <p:spPr>
                <a:xfrm>
                  <a:off x="3343424" y="2571083"/>
                  <a:ext cx="899970" cy="10854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" name="直接连接符 20"/>
                <p:cNvCxnSpPr>
                  <a:stCxn id="67" idx="7"/>
                  <a:endCxn id="50" idx="3"/>
                </p:cNvCxnSpPr>
                <p:nvPr/>
              </p:nvCxnSpPr>
              <p:spPr>
                <a:xfrm flipV="1">
                  <a:off x="5644974" y="1345025"/>
                  <a:ext cx="455898" cy="36274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" name="直接连接符 21"/>
                <p:cNvCxnSpPr>
                  <a:stCxn id="67" idx="6"/>
                  <a:endCxn id="51" idx="2"/>
                </p:cNvCxnSpPr>
                <p:nvPr/>
              </p:nvCxnSpPr>
              <p:spPr>
                <a:xfrm>
                  <a:off x="5655518" y="1733223"/>
                  <a:ext cx="1259969" cy="1566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" name="直接连接符 22"/>
                <p:cNvCxnSpPr>
                  <a:stCxn id="65" idx="7"/>
                  <a:endCxn id="67" idx="3"/>
                </p:cNvCxnSpPr>
                <p:nvPr/>
              </p:nvCxnSpPr>
              <p:spPr>
                <a:xfrm flipV="1">
                  <a:off x="3343424" y="1758679"/>
                  <a:ext cx="2250638" cy="761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" name="直接连接符 23"/>
                <p:cNvCxnSpPr>
                  <a:stCxn id="67" idx="5"/>
                  <a:endCxn id="66" idx="1"/>
                </p:cNvCxnSpPr>
                <p:nvPr/>
              </p:nvCxnSpPr>
              <p:spPr>
                <a:xfrm>
                  <a:off x="5644974" y="1758679"/>
                  <a:ext cx="625293" cy="976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" name="直接连接符 24"/>
                <p:cNvCxnSpPr>
                  <a:stCxn id="64" idx="6"/>
                  <a:endCxn id="66" idx="2"/>
                </p:cNvCxnSpPr>
                <p:nvPr/>
              </p:nvCxnSpPr>
              <p:spPr>
                <a:xfrm flipV="1">
                  <a:off x="4712753" y="2760627"/>
                  <a:ext cx="1546970" cy="85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" name="直接连接符 25"/>
                <p:cNvCxnSpPr>
                  <a:stCxn id="66" idx="3"/>
                  <a:endCxn id="70" idx="0"/>
                </p:cNvCxnSpPr>
                <p:nvPr/>
              </p:nvCxnSpPr>
              <p:spPr>
                <a:xfrm flipH="1">
                  <a:off x="5547518" y="2786083"/>
                  <a:ext cx="722749" cy="30516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" name="直接连接符 26"/>
                <p:cNvCxnSpPr>
                  <a:stCxn id="66" idx="0"/>
                  <a:endCxn id="51" idx="3"/>
                </p:cNvCxnSpPr>
                <p:nvPr/>
              </p:nvCxnSpPr>
              <p:spPr>
                <a:xfrm flipV="1">
                  <a:off x="6295723" y="1915353"/>
                  <a:ext cx="630308" cy="8092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" name="直接连接符 27"/>
                <p:cNvCxnSpPr>
                  <a:stCxn id="66" idx="5"/>
                  <a:endCxn id="71" idx="1"/>
                </p:cNvCxnSpPr>
                <p:nvPr/>
              </p:nvCxnSpPr>
              <p:spPr>
                <a:xfrm>
                  <a:off x="6321179" y="2786083"/>
                  <a:ext cx="698920" cy="84162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" name="直接连接符 28"/>
                <p:cNvCxnSpPr>
                  <a:stCxn id="71" idx="0"/>
                  <a:endCxn id="51" idx="4"/>
                </p:cNvCxnSpPr>
                <p:nvPr/>
              </p:nvCxnSpPr>
              <p:spPr>
                <a:xfrm flipH="1" flipV="1">
                  <a:off x="6951487" y="1925897"/>
                  <a:ext cx="94068" cy="169127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0" name="直接连接符 29"/>
                <p:cNvCxnSpPr>
                  <a:stCxn id="71" idx="7"/>
                  <a:endCxn id="54" idx="3"/>
                </p:cNvCxnSpPr>
                <p:nvPr/>
              </p:nvCxnSpPr>
              <p:spPr>
                <a:xfrm flipV="1">
                  <a:off x="7071011" y="2770197"/>
                  <a:ext cx="436307" cy="8575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1" name="直接连接符 30"/>
                <p:cNvCxnSpPr>
                  <a:stCxn id="58" idx="1"/>
                  <a:endCxn id="71" idx="5"/>
                </p:cNvCxnSpPr>
                <p:nvPr/>
              </p:nvCxnSpPr>
              <p:spPr>
                <a:xfrm flipH="1" flipV="1">
                  <a:off x="7071011" y="3678624"/>
                  <a:ext cx="413447" cy="107405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" name="直接连接符 31"/>
                <p:cNvCxnSpPr>
                  <a:stCxn id="64" idx="4"/>
                  <a:endCxn id="70" idx="1"/>
                </p:cNvCxnSpPr>
                <p:nvPr/>
              </p:nvCxnSpPr>
              <p:spPr>
                <a:xfrm>
                  <a:off x="4676753" y="2881677"/>
                  <a:ext cx="845309" cy="296662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" name="直接连接符 32"/>
                <p:cNvCxnSpPr>
                  <a:stCxn id="69" idx="5"/>
                  <a:endCxn id="70" idx="1"/>
                </p:cNvCxnSpPr>
                <p:nvPr/>
              </p:nvCxnSpPr>
              <p:spPr>
                <a:xfrm>
                  <a:off x="4294306" y="3707469"/>
                  <a:ext cx="1227756" cy="214083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" name="直接连接符 33"/>
                <p:cNvCxnSpPr>
                  <a:stCxn id="56" idx="5"/>
                  <a:endCxn id="68" idx="1"/>
                </p:cNvCxnSpPr>
                <p:nvPr/>
              </p:nvCxnSpPr>
              <p:spPr>
                <a:xfrm>
                  <a:off x="2494504" y="3761893"/>
                  <a:ext cx="1006882" cy="126202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5" name="直接连接符 34"/>
                <p:cNvCxnSpPr>
                  <a:stCxn id="68" idx="7"/>
                  <a:endCxn id="69" idx="2"/>
                </p:cNvCxnSpPr>
                <p:nvPr/>
              </p:nvCxnSpPr>
              <p:spPr>
                <a:xfrm flipV="1">
                  <a:off x="3552298" y="3682013"/>
                  <a:ext cx="680552" cy="134190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6" name="直接连接符 35"/>
                <p:cNvCxnSpPr>
                  <a:stCxn id="68" idx="0"/>
                  <a:endCxn id="65" idx="4"/>
                </p:cNvCxnSpPr>
                <p:nvPr/>
              </p:nvCxnSpPr>
              <p:spPr>
                <a:xfrm flipH="1" flipV="1">
                  <a:off x="3317968" y="2581627"/>
                  <a:ext cx="208874" cy="243174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" name="直接连接符 36"/>
                <p:cNvCxnSpPr>
                  <a:stCxn id="65" idx="1"/>
                  <a:endCxn id="52" idx="4"/>
                </p:cNvCxnSpPr>
                <p:nvPr/>
              </p:nvCxnSpPr>
              <p:spPr>
                <a:xfrm flipH="1" flipV="1">
                  <a:off x="3245968" y="1921650"/>
                  <a:ext cx="46544" cy="59852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" name="直接连接符 37"/>
                <p:cNvCxnSpPr>
                  <a:stCxn id="59" idx="0"/>
                  <a:endCxn id="71" idx="4"/>
                </p:cNvCxnSpPr>
                <p:nvPr/>
              </p:nvCxnSpPr>
              <p:spPr>
                <a:xfrm flipV="1">
                  <a:off x="6960914" y="3689168"/>
                  <a:ext cx="84641" cy="188994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9" name="直接连接符 38"/>
                <p:cNvCxnSpPr>
                  <a:stCxn id="71" idx="3"/>
                  <a:endCxn id="70" idx="7"/>
                </p:cNvCxnSpPr>
                <p:nvPr/>
              </p:nvCxnSpPr>
              <p:spPr>
                <a:xfrm flipH="1">
                  <a:off x="5572974" y="3678624"/>
                  <a:ext cx="1447125" cy="216968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0" name="直接连接符 39"/>
                <p:cNvCxnSpPr>
                  <a:stCxn id="70" idx="6"/>
                  <a:endCxn id="59" idx="2"/>
                </p:cNvCxnSpPr>
                <p:nvPr/>
              </p:nvCxnSpPr>
              <p:spPr>
                <a:xfrm flipV="1">
                  <a:off x="5583518" y="5615109"/>
                  <a:ext cx="1341396" cy="25865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1" name="直接连接符 40"/>
                <p:cNvCxnSpPr>
                  <a:stCxn id="70" idx="5"/>
                  <a:endCxn id="62" idx="1"/>
                </p:cNvCxnSpPr>
                <p:nvPr/>
              </p:nvCxnSpPr>
              <p:spPr>
                <a:xfrm>
                  <a:off x="5572974" y="5899217"/>
                  <a:ext cx="527898" cy="2444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2" name="直接连接符 41"/>
                <p:cNvCxnSpPr>
                  <a:stCxn id="69" idx="0"/>
                  <a:endCxn id="64" idx="3"/>
                </p:cNvCxnSpPr>
                <p:nvPr/>
              </p:nvCxnSpPr>
              <p:spPr>
                <a:xfrm flipV="1">
                  <a:off x="4268850" y="2871133"/>
                  <a:ext cx="382447" cy="77488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3" name="直接连接符 42"/>
                <p:cNvCxnSpPr>
                  <a:stCxn id="68" idx="6"/>
                  <a:endCxn id="70" idx="2"/>
                </p:cNvCxnSpPr>
                <p:nvPr/>
              </p:nvCxnSpPr>
              <p:spPr>
                <a:xfrm>
                  <a:off x="3562842" y="5049372"/>
                  <a:ext cx="1948676" cy="82438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4" name="直接连接符 43"/>
                <p:cNvCxnSpPr>
                  <a:stCxn id="57" idx="6"/>
                  <a:endCxn id="68" idx="2"/>
                </p:cNvCxnSpPr>
                <p:nvPr/>
              </p:nvCxnSpPr>
              <p:spPr>
                <a:xfrm>
                  <a:off x="2723516" y="4804810"/>
                  <a:ext cx="767326" cy="244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5" name="直接连接符 44"/>
                <p:cNvCxnSpPr>
                  <a:stCxn id="60" idx="7"/>
                  <a:endCxn id="68" idx="3"/>
                </p:cNvCxnSpPr>
                <p:nvPr/>
              </p:nvCxnSpPr>
              <p:spPr>
                <a:xfrm flipV="1">
                  <a:off x="3271424" y="5074828"/>
                  <a:ext cx="229962" cy="5105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6" name="直接连接符 45"/>
                <p:cNvCxnSpPr>
                  <a:stCxn id="61" idx="0"/>
                  <a:endCxn id="68" idx="5"/>
                </p:cNvCxnSpPr>
                <p:nvPr/>
              </p:nvCxnSpPr>
              <p:spPr>
                <a:xfrm flipH="1" flipV="1">
                  <a:off x="3552298" y="5074828"/>
                  <a:ext cx="539139" cy="105875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7" name="直接连接符 46"/>
                <p:cNvCxnSpPr>
                  <a:stCxn id="61" idx="7"/>
                  <a:endCxn id="70" idx="2"/>
                </p:cNvCxnSpPr>
                <p:nvPr/>
              </p:nvCxnSpPr>
              <p:spPr>
                <a:xfrm flipV="1">
                  <a:off x="4116893" y="5873761"/>
                  <a:ext cx="1394625" cy="270367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6" name="文本框 5"/>
            <p:cNvSpPr txBox="1"/>
            <p:nvPr/>
          </p:nvSpPr>
          <p:spPr>
            <a:xfrm>
              <a:off x="6610899" y="1009427"/>
              <a:ext cx="1107126" cy="10112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200" b="1" dirty="0">
                  <a:solidFill>
                    <a:schemeClr val="bg1"/>
                  </a:solidFill>
                  <a:latin typeface="方正兰亭粗黑简体" panose="02000000000000000000" pitchFamily="2" charset="-122"/>
                  <a:ea typeface="方正兰亭粗黑简体" panose="02000000000000000000" pitchFamily="2" charset="-122"/>
                </a:rPr>
                <a:t>2</a:t>
              </a:r>
              <a:endParaRPr lang="en-US" altLang="zh-CN" sz="825" b="1" dirty="0">
                <a:solidFill>
                  <a:schemeClr val="bg1"/>
                </a:solidFill>
                <a:latin typeface="方正兰亭粗黑简体" panose="02000000000000000000" pitchFamily="2" charset="-122"/>
                <a:ea typeface="方正兰亭粗黑简体" panose="02000000000000000000" pitchFamily="2" charset="-122"/>
              </a:endParaRPr>
            </a:p>
          </p:txBody>
        </p:sp>
        <p:sp>
          <p:nvSpPr>
            <p:cNvPr id="7" name="弧形 6"/>
            <p:cNvSpPr/>
            <p:nvPr/>
          </p:nvSpPr>
          <p:spPr>
            <a:xfrm rot="20705087">
              <a:off x="5896029" y="1413987"/>
              <a:ext cx="2542304" cy="475742"/>
            </a:xfrm>
            <a:prstGeom prst="arc">
              <a:avLst>
                <a:gd name="adj1" fmla="val 20946925"/>
                <a:gd name="adj2" fmla="val 11464655"/>
              </a:avLst>
            </a:prstGeom>
            <a:ln w="19050">
              <a:solidFill>
                <a:srgbClr val="9D819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</p:grpSp>
      <p:sp>
        <p:nvSpPr>
          <p:cNvPr id="72" name="文本框 71"/>
          <p:cNvSpPr txBox="1"/>
          <p:nvPr/>
        </p:nvSpPr>
        <p:spPr>
          <a:xfrm>
            <a:off x="1041984" y="517240"/>
            <a:ext cx="2104064" cy="4589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系统框架</a:t>
            </a:r>
            <a:endParaRPr lang="en-US" altLang="zh-CN" sz="75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73" name="图片 72">
            <a:extLst>
              <a:ext uri="{FF2B5EF4-FFF2-40B4-BE49-F238E27FC236}">
                <a16:creationId xmlns:a16="http://schemas.microsoft.com/office/drawing/2014/main" id="{F9165931-36E2-4A23-A74B-75B079C8FDB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7326" y="249093"/>
            <a:ext cx="3197323" cy="2402927"/>
          </a:xfrm>
          <a:prstGeom prst="rect">
            <a:avLst/>
          </a:prstGeom>
        </p:spPr>
      </p:pic>
      <p:pic>
        <p:nvPicPr>
          <p:cNvPr id="74" name="图片 73">
            <a:extLst>
              <a:ext uri="{FF2B5EF4-FFF2-40B4-BE49-F238E27FC236}">
                <a16:creationId xmlns:a16="http://schemas.microsoft.com/office/drawing/2014/main" id="{86117432-25FA-4EAB-92EA-22B5025BBB2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0629" y="2571750"/>
            <a:ext cx="3130715" cy="2322657"/>
          </a:xfrm>
          <a:prstGeom prst="rect">
            <a:avLst/>
          </a:prstGeom>
        </p:spPr>
      </p:pic>
      <p:pic>
        <p:nvPicPr>
          <p:cNvPr id="75" name="图片 74">
            <a:extLst>
              <a:ext uri="{FF2B5EF4-FFF2-40B4-BE49-F238E27FC236}">
                <a16:creationId xmlns:a16="http://schemas.microsoft.com/office/drawing/2014/main" id="{7C2E674A-7814-499C-AC0C-79D96A84504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5093" y="3536317"/>
            <a:ext cx="1622950" cy="1217213"/>
          </a:xfrm>
          <a:prstGeom prst="rect">
            <a:avLst/>
          </a:prstGeom>
        </p:spPr>
      </p:pic>
      <p:sp>
        <p:nvSpPr>
          <p:cNvPr id="76" name="箭头: 左右 75">
            <a:extLst>
              <a:ext uri="{FF2B5EF4-FFF2-40B4-BE49-F238E27FC236}">
                <a16:creationId xmlns:a16="http://schemas.microsoft.com/office/drawing/2014/main" id="{41791FE4-46D4-4448-AAD9-113259C584FF}"/>
              </a:ext>
            </a:extLst>
          </p:cNvPr>
          <p:cNvSpPr/>
          <p:nvPr/>
        </p:nvSpPr>
        <p:spPr>
          <a:xfrm>
            <a:off x="5568711" y="3968932"/>
            <a:ext cx="1236924" cy="351985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7" name="箭头: 左右 76">
            <a:extLst>
              <a:ext uri="{FF2B5EF4-FFF2-40B4-BE49-F238E27FC236}">
                <a16:creationId xmlns:a16="http://schemas.microsoft.com/office/drawing/2014/main" id="{1B04E4E7-53E4-41D3-AC0B-26973EB8BC74}"/>
              </a:ext>
            </a:extLst>
          </p:cNvPr>
          <p:cNvSpPr/>
          <p:nvPr/>
        </p:nvSpPr>
        <p:spPr>
          <a:xfrm rot="16200000">
            <a:off x="3021013" y="2196766"/>
            <a:ext cx="997324" cy="353130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8" name="AutoShape 2" descr="C:\Users\Hu Yunlong\Downloads\%E6%9C%AA%E5%91%BD%E5%90%8D%E6%96%87%E4%BB%B6 (9).png">
            <a:extLst>
              <a:ext uri="{FF2B5EF4-FFF2-40B4-BE49-F238E27FC236}">
                <a16:creationId xmlns:a16="http://schemas.microsoft.com/office/drawing/2014/main" id="{7DBE875C-1E34-4476-A875-87F4856DE35F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419600" y="241935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pic>
        <p:nvPicPr>
          <p:cNvPr id="80" name="图片 79">
            <a:extLst>
              <a:ext uri="{FF2B5EF4-FFF2-40B4-BE49-F238E27FC236}">
                <a16:creationId xmlns:a16="http://schemas.microsoft.com/office/drawing/2014/main" id="{C9BD6C6B-4099-4236-A56A-C6493008223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7040" y="841949"/>
            <a:ext cx="1622950" cy="1217213"/>
          </a:xfrm>
          <a:prstGeom prst="rect">
            <a:avLst/>
          </a:prstGeom>
        </p:spPr>
      </p:pic>
      <p:sp>
        <p:nvSpPr>
          <p:cNvPr id="81" name="箭头: 左右 80">
            <a:extLst>
              <a:ext uri="{FF2B5EF4-FFF2-40B4-BE49-F238E27FC236}">
                <a16:creationId xmlns:a16="http://schemas.microsoft.com/office/drawing/2014/main" id="{F3738413-C380-45FE-BC71-78ED78C902B6}"/>
              </a:ext>
            </a:extLst>
          </p:cNvPr>
          <p:cNvSpPr/>
          <p:nvPr/>
        </p:nvSpPr>
        <p:spPr>
          <a:xfrm>
            <a:off x="5488169" y="1245972"/>
            <a:ext cx="1236924" cy="351985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0645802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 advTm="0">
        <p15:prstTrans prst="airplane"/>
      </p:transition>
    </mc:Choice>
    <mc:Fallback xmlns="">
      <p:transition spd="slow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2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合 3"/>
          <p:cNvGrpSpPr/>
          <p:nvPr/>
        </p:nvGrpSpPr>
        <p:grpSpPr>
          <a:xfrm>
            <a:off x="183398" y="425317"/>
            <a:ext cx="846443" cy="659285"/>
            <a:chOff x="5896029" y="567090"/>
            <a:chExt cx="2542304" cy="1980172"/>
          </a:xfrm>
        </p:grpSpPr>
        <p:grpSp>
          <p:nvGrpSpPr>
            <p:cNvPr id="5" name="组合 4"/>
            <p:cNvGrpSpPr/>
            <p:nvPr/>
          </p:nvGrpSpPr>
          <p:grpSpPr>
            <a:xfrm>
              <a:off x="6157182" y="567090"/>
              <a:ext cx="1982032" cy="1980172"/>
              <a:chOff x="6309221" y="788029"/>
              <a:chExt cx="2825105" cy="2822453"/>
            </a:xfrm>
          </p:grpSpPr>
          <p:sp>
            <p:nvSpPr>
              <p:cNvPr id="8" name="椭圆 7"/>
              <p:cNvSpPr/>
              <p:nvPr/>
            </p:nvSpPr>
            <p:spPr>
              <a:xfrm>
                <a:off x="6461555" y="939037"/>
                <a:ext cx="2520437" cy="2520437"/>
              </a:xfrm>
              <a:prstGeom prst="ellipse">
                <a:avLst/>
              </a:prstGeom>
              <a:solidFill>
                <a:srgbClr val="2921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grpSp>
            <p:nvGrpSpPr>
              <p:cNvPr id="9" name="组合 8"/>
              <p:cNvGrpSpPr/>
              <p:nvPr/>
            </p:nvGrpSpPr>
            <p:grpSpPr>
              <a:xfrm>
                <a:off x="6309221" y="788029"/>
                <a:ext cx="2825105" cy="2822453"/>
                <a:chOff x="2433048" y="1083945"/>
                <a:chExt cx="5333787" cy="5328780"/>
              </a:xfrm>
            </p:grpSpPr>
            <p:sp>
              <p:nvSpPr>
                <p:cNvPr id="10" name="十六角星 9"/>
                <p:cNvSpPr/>
                <p:nvPr/>
              </p:nvSpPr>
              <p:spPr>
                <a:xfrm>
                  <a:off x="2470676" y="1127265"/>
                  <a:ext cx="5254344" cy="5254344"/>
                </a:xfrm>
                <a:prstGeom prst="star16">
                  <a:avLst>
                    <a:gd name="adj" fmla="val 49459"/>
                  </a:avLst>
                </a:prstGeom>
                <a:noFill/>
                <a:ln w="6350">
                  <a:solidFill>
                    <a:srgbClr val="9D819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grpSp>
              <p:nvGrpSpPr>
                <p:cNvPr id="11" name="组合 10"/>
                <p:cNvGrpSpPr/>
                <p:nvPr/>
              </p:nvGrpSpPr>
              <p:grpSpPr>
                <a:xfrm>
                  <a:off x="2433048" y="1083945"/>
                  <a:ext cx="5333787" cy="5328780"/>
                  <a:chOff x="2280648" y="931545"/>
                  <a:chExt cx="5333787" cy="5328780"/>
                </a:xfrm>
              </p:grpSpPr>
              <p:sp>
                <p:nvSpPr>
                  <p:cNvPr id="48" name="椭圆 47"/>
                  <p:cNvSpPr/>
                  <p:nvPr/>
                </p:nvSpPr>
                <p:spPr>
                  <a:xfrm>
                    <a:off x="3903037" y="113166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49" name="椭圆 48"/>
                  <p:cNvSpPr/>
                  <p:nvPr/>
                </p:nvSpPr>
                <p:spPr>
                  <a:xfrm>
                    <a:off x="4916848" y="93154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0" name="椭圆 49"/>
                  <p:cNvSpPr/>
                  <p:nvPr/>
                </p:nvSpPr>
                <p:spPr>
                  <a:xfrm>
                    <a:off x="5937928" y="113116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1" name="椭圆 50"/>
                  <p:cNvSpPr/>
                  <p:nvPr/>
                </p:nvSpPr>
                <p:spPr>
                  <a:xfrm>
                    <a:off x="6763087" y="170149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2" name="椭圆 51"/>
                  <p:cNvSpPr/>
                  <p:nvPr/>
                </p:nvSpPr>
                <p:spPr>
                  <a:xfrm>
                    <a:off x="3057568" y="169725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3" name="椭圆 52"/>
                  <p:cNvSpPr/>
                  <p:nvPr/>
                </p:nvSpPr>
                <p:spPr>
                  <a:xfrm>
                    <a:off x="2481128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4" name="椭圆 53"/>
                  <p:cNvSpPr/>
                  <p:nvPr/>
                </p:nvSpPr>
                <p:spPr>
                  <a:xfrm>
                    <a:off x="7344374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5" name="椭圆 54"/>
                  <p:cNvSpPr/>
                  <p:nvPr/>
                </p:nvSpPr>
                <p:spPr>
                  <a:xfrm>
                    <a:off x="7542435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6" name="椭圆 55"/>
                  <p:cNvSpPr/>
                  <p:nvPr/>
                </p:nvSpPr>
                <p:spPr>
                  <a:xfrm>
                    <a:off x="2280648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7" name="椭圆 56"/>
                  <p:cNvSpPr/>
                  <p:nvPr/>
                </p:nvSpPr>
                <p:spPr>
                  <a:xfrm>
                    <a:off x="2499116" y="461641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8" name="椭圆 57"/>
                  <p:cNvSpPr/>
                  <p:nvPr/>
                </p:nvSpPr>
                <p:spPr>
                  <a:xfrm>
                    <a:off x="7321514" y="458973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9" name="椭圆 58"/>
                  <p:cNvSpPr/>
                  <p:nvPr/>
                </p:nvSpPr>
                <p:spPr>
                  <a:xfrm>
                    <a:off x="6772514" y="542670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0" name="椭圆 59"/>
                  <p:cNvSpPr/>
                  <p:nvPr/>
                </p:nvSpPr>
                <p:spPr>
                  <a:xfrm>
                    <a:off x="3057568" y="542246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1" name="椭圆 60"/>
                  <p:cNvSpPr/>
                  <p:nvPr/>
                </p:nvSpPr>
                <p:spPr>
                  <a:xfrm>
                    <a:off x="3903037" y="5981184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2" name="椭圆 61"/>
                  <p:cNvSpPr/>
                  <p:nvPr/>
                </p:nvSpPr>
                <p:spPr>
                  <a:xfrm>
                    <a:off x="5937928" y="598068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3" name="椭圆 62"/>
                  <p:cNvSpPr/>
                  <p:nvPr/>
                </p:nvSpPr>
                <p:spPr>
                  <a:xfrm>
                    <a:off x="4916848" y="618832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4" name="椭圆 63"/>
                  <p:cNvSpPr/>
                  <p:nvPr/>
                </p:nvSpPr>
                <p:spPr>
                  <a:xfrm>
                    <a:off x="4488353" y="265727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5" name="椭圆 64"/>
                  <p:cNvSpPr/>
                  <p:nvPr/>
                </p:nvSpPr>
                <p:spPr>
                  <a:xfrm>
                    <a:off x="3129568" y="2357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6" name="椭圆 65"/>
                  <p:cNvSpPr/>
                  <p:nvPr/>
                </p:nvSpPr>
                <p:spPr>
                  <a:xfrm>
                    <a:off x="6107323" y="2572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7" name="椭圆 66"/>
                  <p:cNvSpPr/>
                  <p:nvPr/>
                </p:nvSpPr>
                <p:spPr>
                  <a:xfrm>
                    <a:off x="5431118" y="154482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8" name="椭圆 67"/>
                  <p:cNvSpPr/>
                  <p:nvPr/>
                </p:nvSpPr>
                <p:spPr>
                  <a:xfrm>
                    <a:off x="3338442" y="486097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9" name="椭圆 68"/>
                  <p:cNvSpPr/>
                  <p:nvPr/>
                </p:nvSpPr>
                <p:spPr>
                  <a:xfrm>
                    <a:off x="4080450" y="349361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70" name="椭圆 69"/>
                  <p:cNvSpPr/>
                  <p:nvPr/>
                </p:nvSpPr>
                <p:spPr>
                  <a:xfrm>
                    <a:off x="5359118" y="568536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71" name="椭圆 70"/>
                  <p:cNvSpPr/>
                  <p:nvPr/>
                </p:nvSpPr>
                <p:spPr>
                  <a:xfrm>
                    <a:off x="6857155" y="346476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</p:grpSp>
            <p:cxnSp>
              <p:nvCxnSpPr>
                <p:cNvPr id="12" name="直接连接符 11"/>
                <p:cNvCxnSpPr>
                  <a:stCxn id="49" idx="4"/>
                  <a:endCxn id="67" idx="0"/>
                </p:cNvCxnSpPr>
                <p:nvPr/>
              </p:nvCxnSpPr>
              <p:spPr>
                <a:xfrm>
                  <a:off x="5105248" y="1155945"/>
                  <a:ext cx="514270" cy="5412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" name="直接连接符 12"/>
                <p:cNvCxnSpPr>
                  <a:stCxn id="48" idx="5"/>
                  <a:endCxn id="67" idx="2"/>
                </p:cNvCxnSpPr>
                <p:nvPr/>
              </p:nvCxnSpPr>
              <p:spPr>
                <a:xfrm>
                  <a:off x="4116893" y="1345521"/>
                  <a:ext cx="1466625" cy="38770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" name="直接连接符 13"/>
                <p:cNvCxnSpPr>
                  <a:stCxn id="65" idx="0"/>
                  <a:endCxn id="48" idx="4"/>
                </p:cNvCxnSpPr>
                <p:nvPr/>
              </p:nvCxnSpPr>
              <p:spPr>
                <a:xfrm flipV="1">
                  <a:off x="3317968" y="1356065"/>
                  <a:ext cx="773469" cy="1153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" name="直接连接符 14"/>
                <p:cNvCxnSpPr>
                  <a:stCxn id="70" idx="3"/>
                  <a:endCxn id="63" idx="0"/>
                </p:cNvCxnSpPr>
                <p:nvPr/>
              </p:nvCxnSpPr>
              <p:spPr>
                <a:xfrm flipH="1">
                  <a:off x="5105248" y="5899217"/>
                  <a:ext cx="416814" cy="44150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" name="直接连接符 15"/>
                <p:cNvCxnSpPr>
                  <a:stCxn id="53" idx="6"/>
                </p:cNvCxnSpPr>
                <p:nvPr/>
              </p:nvCxnSpPr>
              <p:spPr>
                <a:xfrm flipV="1">
                  <a:off x="2705528" y="2545627"/>
                  <a:ext cx="576440" cy="19911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" name="直接连接符 16"/>
                <p:cNvCxnSpPr>
                  <a:stCxn id="65" idx="6"/>
                  <a:endCxn id="64" idx="2"/>
                </p:cNvCxnSpPr>
                <p:nvPr/>
              </p:nvCxnSpPr>
              <p:spPr>
                <a:xfrm>
                  <a:off x="3353968" y="2545627"/>
                  <a:ext cx="1286785" cy="300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" name="直接连接符 17"/>
                <p:cNvCxnSpPr>
                  <a:stCxn id="64" idx="0"/>
                  <a:endCxn id="67" idx="4"/>
                </p:cNvCxnSpPr>
                <p:nvPr/>
              </p:nvCxnSpPr>
              <p:spPr>
                <a:xfrm flipV="1">
                  <a:off x="4676753" y="1769223"/>
                  <a:ext cx="942765" cy="104045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" name="直接连接符 18"/>
                <p:cNvCxnSpPr>
                  <a:stCxn id="56" idx="7"/>
                  <a:endCxn id="65" idx="3"/>
                </p:cNvCxnSpPr>
                <p:nvPr/>
              </p:nvCxnSpPr>
              <p:spPr>
                <a:xfrm flipV="1">
                  <a:off x="2494504" y="2571083"/>
                  <a:ext cx="798008" cy="113989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" name="直接连接符 19"/>
                <p:cNvCxnSpPr>
                  <a:stCxn id="65" idx="5"/>
                  <a:endCxn id="69" idx="1"/>
                </p:cNvCxnSpPr>
                <p:nvPr/>
              </p:nvCxnSpPr>
              <p:spPr>
                <a:xfrm>
                  <a:off x="3343424" y="2571083"/>
                  <a:ext cx="899970" cy="10854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" name="直接连接符 20"/>
                <p:cNvCxnSpPr>
                  <a:stCxn id="67" idx="7"/>
                  <a:endCxn id="50" idx="3"/>
                </p:cNvCxnSpPr>
                <p:nvPr/>
              </p:nvCxnSpPr>
              <p:spPr>
                <a:xfrm flipV="1">
                  <a:off x="5644974" y="1345025"/>
                  <a:ext cx="455898" cy="36274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" name="直接连接符 21"/>
                <p:cNvCxnSpPr>
                  <a:stCxn id="67" idx="6"/>
                  <a:endCxn id="51" idx="2"/>
                </p:cNvCxnSpPr>
                <p:nvPr/>
              </p:nvCxnSpPr>
              <p:spPr>
                <a:xfrm>
                  <a:off x="5655518" y="1733223"/>
                  <a:ext cx="1259969" cy="1566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" name="直接连接符 22"/>
                <p:cNvCxnSpPr>
                  <a:stCxn id="65" idx="7"/>
                  <a:endCxn id="67" idx="3"/>
                </p:cNvCxnSpPr>
                <p:nvPr/>
              </p:nvCxnSpPr>
              <p:spPr>
                <a:xfrm flipV="1">
                  <a:off x="3343424" y="1758679"/>
                  <a:ext cx="2250638" cy="761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" name="直接连接符 23"/>
                <p:cNvCxnSpPr>
                  <a:stCxn id="67" idx="5"/>
                  <a:endCxn id="66" idx="1"/>
                </p:cNvCxnSpPr>
                <p:nvPr/>
              </p:nvCxnSpPr>
              <p:spPr>
                <a:xfrm>
                  <a:off x="5644974" y="1758679"/>
                  <a:ext cx="625293" cy="976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" name="直接连接符 24"/>
                <p:cNvCxnSpPr>
                  <a:stCxn id="64" idx="6"/>
                  <a:endCxn id="66" idx="2"/>
                </p:cNvCxnSpPr>
                <p:nvPr/>
              </p:nvCxnSpPr>
              <p:spPr>
                <a:xfrm flipV="1">
                  <a:off x="4712753" y="2760627"/>
                  <a:ext cx="1546970" cy="85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" name="直接连接符 25"/>
                <p:cNvCxnSpPr>
                  <a:stCxn id="66" idx="3"/>
                  <a:endCxn id="70" idx="0"/>
                </p:cNvCxnSpPr>
                <p:nvPr/>
              </p:nvCxnSpPr>
              <p:spPr>
                <a:xfrm flipH="1">
                  <a:off x="5547518" y="2786083"/>
                  <a:ext cx="722749" cy="30516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" name="直接连接符 26"/>
                <p:cNvCxnSpPr>
                  <a:stCxn id="66" idx="0"/>
                  <a:endCxn id="51" idx="3"/>
                </p:cNvCxnSpPr>
                <p:nvPr/>
              </p:nvCxnSpPr>
              <p:spPr>
                <a:xfrm flipV="1">
                  <a:off x="6295723" y="1915353"/>
                  <a:ext cx="630308" cy="8092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" name="直接连接符 27"/>
                <p:cNvCxnSpPr>
                  <a:stCxn id="66" idx="5"/>
                  <a:endCxn id="71" idx="1"/>
                </p:cNvCxnSpPr>
                <p:nvPr/>
              </p:nvCxnSpPr>
              <p:spPr>
                <a:xfrm>
                  <a:off x="6321179" y="2786083"/>
                  <a:ext cx="698920" cy="84162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" name="直接连接符 28"/>
                <p:cNvCxnSpPr>
                  <a:stCxn id="71" idx="0"/>
                  <a:endCxn id="51" idx="4"/>
                </p:cNvCxnSpPr>
                <p:nvPr/>
              </p:nvCxnSpPr>
              <p:spPr>
                <a:xfrm flipH="1" flipV="1">
                  <a:off x="6951487" y="1925897"/>
                  <a:ext cx="94068" cy="169127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0" name="直接连接符 29"/>
                <p:cNvCxnSpPr>
                  <a:stCxn id="71" idx="7"/>
                  <a:endCxn id="54" idx="3"/>
                </p:cNvCxnSpPr>
                <p:nvPr/>
              </p:nvCxnSpPr>
              <p:spPr>
                <a:xfrm flipV="1">
                  <a:off x="7071011" y="2770197"/>
                  <a:ext cx="436307" cy="8575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1" name="直接连接符 30"/>
                <p:cNvCxnSpPr>
                  <a:stCxn id="58" idx="1"/>
                  <a:endCxn id="71" idx="5"/>
                </p:cNvCxnSpPr>
                <p:nvPr/>
              </p:nvCxnSpPr>
              <p:spPr>
                <a:xfrm flipH="1" flipV="1">
                  <a:off x="7071011" y="3678624"/>
                  <a:ext cx="413447" cy="107405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" name="直接连接符 31"/>
                <p:cNvCxnSpPr>
                  <a:stCxn id="64" idx="4"/>
                  <a:endCxn id="70" idx="1"/>
                </p:cNvCxnSpPr>
                <p:nvPr/>
              </p:nvCxnSpPr>
              <p:spPr>
                <a:xfrm>
                  <a:off x="4676753" y="2881677"/>
                  <a:ext cx="845309" cy="296662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" name="直接连接符 32"/>
                <p:cNvCxnSpPr>
                  <a:stCxn id="69" idx="5"/>
                  <a:endCxn id="70" idx="1"/>
                </p:cNvCxnSpPr>
                <p:nvPr/>
              </p:nvCxnSpPr>
              <p:spPr>
                <a:xfrm>
                  <a:off x="4294306" y="3707469"/>
                  <a:ext cx="1227756" cy="214083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" name="直接连接符 33"/>
                <p:cNvCxnSpPr>
                  <a:stCxn id="56" idx="5"/>
                  <a:endCxn id="68" idx="1"/>
                </p:cNvCxnSpPr>
                <p:nvPr/>
              </p:nvCxnSpPr>
              <p:spPr>
                <a:xfrm>
                  <a:off x="2494504" y="3761893"/>
                  <a:ext cx="1006882" cy="126202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5" name="直接连接符 34"/>
                <p:cNvCxnSpPr>
                  <a:stCxn id="68" idx="7"/>
                  <a:endCxn id="69" idx="2"/>
                </p:cNvCxnSpPr>
                <p:nvPr/>
              </p:nvCxnSpPr>
              <p:spPr>
                <a:xfrm flipV="1">
                  <a:off x="3552298" y="3682013"/>
                  <a:ext cx="680552" cy="134190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6" name="直接连接符 35"/>
                <p:cNvCxnSpPr>
                  <a:stCxn id="68" idx="0"/>
                  <a:endCxn id="65" idx="4"/>
                </p:cNvCxnSpPr>
                <p:nvPr/>
              </p:nvCxnSpPr>
              <p:spPr>
                <a:xfrm flipH="1" flipV="1">
                  <a:off x="3317968" y="2581627"/>
                  <a:ext cx="208874" cy="243174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" name="直接连接符 36"/>
                <p:cNvCxnSpPr>
                  <a:stCxn id="65" idx="1"/>
                  <a:endCxn id="52" idx="4"/>
                </p:cNvCxnSpPr>
                <p:nvPr/>
              </p:nvCxnSpPr>
              <p:spPr>
                <a:xfrm flipH="1" flipV="1">
                  <a:off x="3245968" y="1921650"/>
                  <a:ext cx="46544" cy="59852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" name="直接连接符 37"/>
                <p:cNvCxnSpPr>
                  <a:stCxn id="59" idx="0"/>
                  <a:endCxn id="71" idx="4"/>
                </p:cNvCxnSpPr>
                <p:nvPr/>
              </p:nvCxnSpPr>
              <p:spPr>
                <a:xfrm flipV="1">
                  <a:off x="6960914" y="3689168"/>
                  <a:ext cx="84641" cy="188994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9" name="直接连接符 38"/>
                <p:cNvCxnSpPr>
                  <a:stCxn id="71" idx="3"/>
                  <a:endCxn id="70" idx="7"/>
                </p:cNvCxnSpPr>
                <p:nvPr/>
              </p:nvCxnSpPr>
              <p:spPr>
                <a:xfrm flipH="1">
                  <a:off x="5572974" y="3678624"/>
                  <a:ext cx="1447125" cy="216968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0" name="直接连接符 39"/>
                <p:cNvCxnSpPr>
                  <a:stCxn id="70" idx="6"/>
                  <a:endCxn id="59" idx="2"/>
                </p:cNvCxnSpPr>
                <p:nvPr/>
              </p:nvCxnSpPr>
              <p:spPr>
                <a:xfrm flipV="1">
                  <a:off x="5583518" y="5615109"/>
                  <a:ext cx="1341396" cy="25865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1" name="直接连接符 40"/>
                <p:cNvCxnSpPr>
                  <a:stCxn id="70" idx="5"/>
                  <a:endCxn id="62" idx="1"/>
                </p:cNvCxnSpPr>
                <p:nvPr/>
              </p:nvCxnSpPr>
              <p:spPr>
                <a:xfrm>
                  <a:off x="5572974" y="5899217"/>
                  <a:ext cx="527898" cy="2444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2" name="直接连接符 41"/>
                <p:cNvCxnSpPr>
                  <a:stCxn id="69" idx="0"/>
                  <a:endCxn id="64" idx="3"/>
                </p:cNvCxnSpPr>
                <p:nvPr/>
              </p:nvCxnSpPr>
              <p:spPr>
                <a:xfrm flipV="1">
                  <a:off x="4268850" y="2871133"/>
                  <a:ext cx="382447" cy="77488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3" name="直接连接符 42"/>
                <p:cNvCxnSpPr>
                  <a:stCxn id="68" idx="6"/>
                  <a:endCxn id="70" idx="2"/>
                </p:cNvCxnSpPr>
                <p:nvPr/>
              </p:nvCxnSpPr>
              <p:spPr>
                <a:xfrm>
                  <a:off x="3562842" y="5049372"/>
                  <a:ext cx="1948676" cy="82438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4" name="直接连接符 43"/>
                <p:cNvCxnSpPr>
                  <a:stCxn id="57" idx="6"/>
                  <a:endCxn id="68" idx="2"/>
                </p:cNvCxnSpPr>
                <p:nvPr/>
              </p:nvCxnSpPr>
              <p:spPr>
                <a:xfrm>
                  <a:off x="2723516" y="4804810"/>
                  <a:ext cx="767326" cy="244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5" name="直接连接符 44"/>
                <p:cNvCxnSpPr>
                  <a:stCxn id="60" idx="7"/>
                  <a:endCxn id="68" idx="3"/>
                </p:cNvCxnSpPr>
                <p:nvPr/>
              </p:nvCxnSpPr>
              <p:spPr>
                <a:xfrm flipV="1">
                  <a:off x="3271424" y="5074828"/>
                  <a:ext cx="229962" cy="5105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6" name="直接连接符 45"/>
                <p:cNvCxnSpPr>
                  <a:stCxn id="61" idx="0"/>
                  <a:endCxn id="68" idx="5"/>
                </p:cNvCxnSpPr>
                <p:nvPr/>
              </p:nvCxnSpPr>
              <p:spPr>
                <a:xfrm flipH="1" flipV="1">
                  <a:off x="3552298" y="5074828"/>
                  <a:ext cx="539139" cy="105875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7" name="直接连接符 46"/>
                <p:cNvCxnSpPr>
                  <a:stCxn id="61" idx="7"/>
                  <a:endCxn id="70" idx="2"/>
                </p:cNvCxnSpPr>
                <p:nvPr/>
              </p:nvCxnSpPr>
              <p:spPr>
                <a:xfrm flipV="1">
                  <a:off x="4116893" y="5873761"/>
                  <a:ext cx="1394625" cy="270367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6" name="文本框 5"/>
            <p:cNvSpPr txBox="1"/>
            <p:nvPr/>
          </p:nvSpPr>
          <p:spPr>
            <a:xfrm>
              <a:off x="6610899" y="1009427"/>
              <a:ext cx="1107126" cy="10112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200" b="1" dirty="0">
                  <a:solidFill>
                    <a:schemeClr val="bg1"/>
                  </a:solidFill>
                  <a:latin typeface="方正兰亭粗黑简体" panose="02000000000000000000" pitchFamily="2" charset="-122"/>
                  <a:ea typeface="方正兰亭粗黑简体" panose="02000000000000000000" pitchFamily="2" charset="-122"/>
                </a:rPr>
                <a:t>2</a:t>
              </a:r>
              <a:endParaRPr lang="en-US" altLang="zh-CN" sz="825" b="1" dirty="0">
                <a:solidFill>
                  <a:schemeClr val="bg1"/>
                </a:solidFill>
                <a:latin typeface="方正兰亭粗黑简体" panose="02000000000000000000" pitchFamily="2" charset="-122"/>
                <a:ea typeface="方正兰亭粗黑简体" panose="02000000000000000000" pitchFamily="2" charset="-122"/>
              </a:endParaRPr>
            </a:p>
          </p:txBody>
        </p:sp>
        <p:sp>
          <p:nvSpPr>
            <p:cNvPr id="7" name="弧形 6"/>
            <p:cNvSpPr/>
            <p:nvPr/>
          </p:nvSpPr>
          <p:spPr>
            <a:xfrm rot="20705087">
              <a:off x="5896029" y="1413987"/>
              <a:ext cx="2542304" cy="475742"/>
            </a:xfrm>
            <a:prstGeom prst="arc">
              <a:avLst>
                <a:gd name="adj1" fmla="val 20946925"/>
                <a:gd name="adj2" fmla="val 11464655"/>
              </a:avLst>
            </a:prstGeom>
            <a:ln w="19050">
              <a:solidFill>
                <a:srgbClr val="9D819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</p:grpSp>
      <p:sp>
        <p:nvSpPr>
          <p:cNvPr id="72" name="文本框 71"/>
          <p:cNvSpPr txBox="1"/>
          <p:nvPr/>
        </p:nvSpPr>
        <p:spPr>
          <a:xfrm>
            <a:off x="1041984" y="517240"/>
            <a:ext cx="2104064" cy="4589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系统框架</a:t>
            </a:r>
            <a:endParaRPr lang="en-US" altLang="zh-CN" sz="75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79" name="图片 78">
            <a:extLst>
              <a:ext uri="{FF2B5EF4-FFF2-40B4-BE49-F238E27FC236}">
                <a16:creationId xmlns:a16="http://schemas.microsoft.com/office/drawing/2014/main" id="{815AFFB1-9CFC-410F-BC6F-A35699EB353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8519" y="686989"/>
            <a:ext cx="6186961" cy="4080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0517211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 advTm="0">
        <p15:prstTrans prst="airplane"/>
      </p:transition>
    </mc:Choice>
    <mc:Fallback xmlns="">
      <p:transition spd="slow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2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合 3"/>
          <p:cNvGrpSpPr/>
          <p:nvPr/>
        </p:nvGrpSpPr>
        <p:grpSpPr>
          <a:xfrm>
            <a:off x="183398" y="425317"/>
            <a:ext cx="846443" cy="659285"/>
            <a:chOff x="5896029" y="567090"/>
            <a:chExt cx="2542304" cy="1980172"/>
          </a:xfrm>
        </p:grpSpPr>
        <p:grpSp>
          <p:nvGrpSpPr>
            <p:cNvPr id="5" name="组合 4"/>
            <p:cNvGrpSpPr/>
            <p:nvPr/>
          </p:nvGrpSpPr>
          <p:grpSpPr>
            <a:xfrm>
              <a:off x="6157182" y="567090"/>
              <a:ext cx="1982032" cy="1980172"/>
              <a:chOff x="6309221" y="788029"/>
              <a:chExt cx="2825105" cy="2822453"/>
            </a:xfrm>
          </p:grpSpPr>
          <p:sp>
            <p:nvSpPr>
              <p:cNvPr id="8" name="椭圆 7"/>
              <p:cNvSpPr/>
              <p:nvPr/>
            </p:nvSpPr>
            <p:spPr>
              <a:xfrm>
                <a:off x="6461555" y="939037"/>
                <a:ext cx="2520437" cy="2520437"/>
              </a:xfrm>
              <a:prstGeom prst="ellipse">
                <a:avLst/>
              </a:prstGeom>
              <a:solidFill>
                <a:srgbClr val="2921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013"/>
              </a:p>
            </p:txBody>
          </p:sp>
          <p:grpSp>
            <p:nvGrpSpPr>
              <p:cNvPr id="9" name="组合 8"/>
              <p:cNvGrpSpPr/>
              <p:nvPr/>
            </p:nvGrpSpPr>
            <p:grpSpPr>
              <a:xfrm>
                <a:off x="6309221" y="788029"/>
                <a:ext cx="2825105" cy="2822453"/>
                <a:chOff x="2433048" y="1083945"/>
                <a:chExt cx="5333787" cy="5328780"/>
              </a:xfrm>
            </p:grpSpPr>
            <p:sp>
              <p:nvSpPr>
                <p:cNvPr id="10" name="十六角星 9"/>
                <p:cNvSpPr/>
                <p:nvPr/>
              </p:nvSpPr>
              <p:spPr>
                <a:xfrm>
                  <a:off x="2470676" y="1127265"/>
                  <a:ext cx="5254344" cy="5254344"/>
                </a:xfrm>
                <a:prstGeom prst="star16">
                  <a:avLst>
                    <a:gd name="adj" fmla="val 49459"/>
                  </a:avLst>
                </a:prstGeom>
                <a:noFill/>
                <a:ln w="6350">
                  <a:solidFill>
                    <a:srgbClr val="9D819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13"/>
                </a:p>
              </p:txBody>
            </p:sp>
            <p:grpSp>
              <p:nvGrpSpPr>
                <p:cNvPr id="11" name="组合 10"/>
                <p:cNvGrpSpPr/>
                <p:nvPr/>
              </p:nvGrpSpPr>
              <p:grpSpPr>
                <a:xfrm>
                  <a:off x="2433048" y="1083945"/>
                  <a:ext cx="5333787" cy="5328780"/>
                  <a:chOff x="2280648" y="931545"/>
                  <a:chExt cx="5333787" cy="5328780"/>
                </a:xfrm>
              </p:grpSpPr>
              <p:sp>
                <p:nvSpPr>
                  <p:cNvPr id="48" name="椭圆 47"/>
                  <p:cNvSpPr/>
                  <p:nvPr/>
                </p:nvSpPr>
                <p:spPr>
                  <a:xfrm>
                    <a:off x="3903037" y="113166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49" name="椭圆 48"/>
                  <p:cNvSpPr/>
                  <p:nvPr/>
                </p:nvSpPr>
                <p:spPr>
                  <a:xfrm>
                    <a:off x="4916848" y="93154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0" name="椭圆 49"/>
                  <p:cNvSpPr/>
                  <p:nvPr/>
                </p:nvSpPr>
                <p:spPr>
                  <a:xfrm>
                    <a:off x="5937928" y="113116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1" name="椭圆 50"/>
                  <p:cNvSpPr/>
                  <p:nvPr/>
                </p:nvSpPr>
                <p:spPr>
                  <a:xfrm>
                    <a:off x="6763087" y="170149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2" name="椭圆 51"/>
                  <p:cNvSpPr/>
                  <p:nvPr/>
                </p:nvSpPr>
                <p:spPr>
                  <a:xfrm>
                    <a:off x="3057568" y="169725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3" name="椭圆 52"/>
                  <p:cNvSpPr/>
                  <p:nvPr/>
                </p:nvSpPr>
                <p:spPr>
                  <a:xfrm>
                    <a:off x="2481128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4" name="椭圆 53"/>
                  <p:cNvSpPr/>
                  <p:nvPr/>
                </p:nvSpPr>
                <p:spPr>
                  <a:xfrm>
                    <a:off x="7344374" y="255634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5" name="椭圆 54"/>
                  <p:cNvSpPr/>
                  <p:nvPr/>
                </p:nvSpPr>
                <p:spPr>
                  <a:xfrm>
                    <a:off x="7542435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6" name="椭圆 55"/>
                  <p:cNvSpPr/>
                  <p:nvPr/>
                </p:nvSpPr>
                <p:spPr>
                  <a:xfrm>
                    <a:off x="2280648" y="354803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7" name="椭圆 56"/>
                  <p:cNvSpPr/>
                  <p:nvPr/>
                </p:nvSpPr>
                <p:spPr>
                  <a:xfrm>
                    <a:off x="2499116" y="4616410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8" name="椭圆 57"/>
                  <p:cNvSpPr/>
                  <p:nvPr/>
                </p:nvSpPr>
                <p:spPr>
                  <a:xfrm>
                    <a:off x="7321514" y="458973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59" name="椭圆 58"/>
                  <p:cNvSpPr/>
                  <p:nvPr/>
                </p:nvSpPr>
                <p:spPr>
                  <a:xfrm>
                    <a:off x="6772514" y="5426709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0" name="椭圆 59"/>
                  <p:cNvSpPr/>
                  <p:nvPr/>
                </p:nvSpPr>
                <p:spPr>
                  <a:xfrm>
                    <a:off x="3057568" y="542246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1" name="椭圆 60"/>
                  <p:cNvSpPr/>
                  <p:nvPr/>
                </p:nvSpPr>
                <p:spPr>
                  <a:xfrm>
                    <a:off x="3903037" y="5981184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2" name="椭圆 61"/>
                  <p:cNvSpPr/>
                  <p:nvPr/>
                </p:nvSpPr>
                <p:spPr>
                  <a:xfrm>
                    <a:off x="5937928" y="598068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3" name="椭圆 62"/>
                  <p:cNvSpPr/>
                  <p:nvPr/>
                </p:nvSpPr>
                <p:spPr>
                  <a:xfrm>
                    <a:off x="4916848" y="6188325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4" name="椭圆 63"/>
                  <p:cNvSpPr/>
                  <p:nvPr/>
                </p:nvSpPr>
                <p:spPr>
                  <a:xfrm>
                    <a:off x="4488353" y="265727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5" name="椭圆 64"/>
                  <p:cNvSpPr/>
                  <p:nvPr/>
                </p:nvSpPr>
                <p:spPr>
                  <a:xfrm>
                    <a:off x="3129568" y="2357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6" name="椭圆 65"/>
                  <p:cNvSpPr/>
                  <p:nvPr/>
                </p:nvSpPr>
                <p:spPr>
                  <a:xfrm>
                    <a:off x="6107323" y="2572227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7" name="椭圆 66"/>
                  <p:cNvSpPr/>
                  <p:nvPr/>
                </p:nvSpPr>
                <p:spPr>
                  <a:xfrm>
                    <a:off x="5431118" y="154482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8" name="椭圆 67"/>
                  <p:cNvSpPr/>
                  <p:nvPr/>
                </p:nvSpPr>
                <p:spPr>
                  <a:xfrm>
                    <a:off x="3338442" y="4860972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69" name="椭圆 68"/>
                  <p:cNvSpPr/>
                  <p:nvPr/>
                </p:nvSpPr>
                <p:spPr>
                  <a:xfrm>
                    <a:off x="4080450" y="3493613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70" name="椭圆 69"/>
                  <p:cNvSpPr/>
                  <p:nvPr/>
                </p:nvSpPr>
                <p:spPr>
                  <a:xfrm>
                    <a:off x="5359118" y="5685361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  <p:sp>
                <p:nvSpPr>
                  <p:cNvPr id="71" name="椭圆 70"/>
                  <p:cNvSpPr/>
                  <p:nvPr/>
                </p:nvSpPr>
                <p:spPr>
                  <a:xfrm>
                    <a:off x="6857155" y="3464768"/>
                    <a:ext cx="72000" cy="72000"/>
                  </a:xfrm>
                  <a:prstGeom prst="ellipse">
                    <a:avLst/>
                  </a:prstGeom>
                  <a:solidFill>
                    <a:srgbClr val="9D81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13"/>
                  </a:p>
                </p:txBody>
              </p:sp>
            </p:grpSp>
            <p:cxnSp>
              <p:nvCxnSpPr>
                <p:cNvPr id="12" name="直接连接符 11"/>
                <p:cNvCxnSpPr>
                  <a:stCxn id="49" idx="4"/>
                  <a:endCxn id="67" idx="0"/>
                </p:cNvCxnSpPr>
                <p:nvPr/>
              </p:nvCxnSpPr>
              <p:spPr>
                <a:xfrm>
                  <a:off x="5105248" y="1155945"/>
                  <a:ext cx="514270" cy="5412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" name="直接连接符 12"/>
                <p:cNvCxnSpPr>
                  <a:stCxn id="48" idx="5"/>
                  <a:endCxn id="67" idx="2"/>
                </p:cNvCxnSpPr>
                <p:nvPr/>
              </p:nvCxnSpPr>
              <p:spPr>
                <a:xfrm>
                  <a:off x="4116893" y="1345521"/>
                  <a:ext cx="1466625" cy="38770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" name="直接连接符 13"/>
                <p:cNvCxnSpPr>
                  <a:stCxn id="65" idx="0"/>
                  <a:endCxn id="48" idx="4"/>
                </p:cNvCxnSpPr>
                <p:nvPr/>
              </p:nvCxnSpPr>
              <p:spPr>
                <a:xfrm flipV="1">
                  <a:off x="3317968" y="1356065"/>
                  <a:ext cx="773469" cy="1153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" name="直接连接符 14"/>
                <p:cNvCxnSpPr>
                  <a:stCxn id="70" idx="3"/>
                  <a:endCxn id="63" idx="0"/>
                </p:cNvCxnSpPr>
                <p:nvPr/>
              </p:nvCxnSpPr>
              <p:spPr>
                <a:xfrm flipH="1">
                  <a:off x="5105248" y="5899217"/>
                  <a:ext cx="416814" cy="44150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" name="直接连接符 15"/>
                <p:cNvCxnSpPr>
                  <a:stCxn id="53" idx="6"/>
                </p:cNvCxnSpPr>
                <p:nvPr/>
              </p:nvCxnSpPr>
              <p:spPr>
                <a:xfrm flipV="1">
                  <a:off x="2705528" y="2545627"/>
                  <a:ext cx="576440" cy="19911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" name="直接连接符 16"/>
                <p:cNvCxnSpPr>
                  <a:stCxn id="65" idx="6"/>
                  <a:endCxn id="64" idx="2"/>
                </p:cNvCxnSpPr>
                <p:nvPr/>
              </p:nvCxnSpPr>
              <p:spPr>
                <a:xfrm>
                  <a:off x="3353968" y="2545627"/>
                  <a:ext cx="1286785" cy="300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" name="直接连接符 17"/>
                <p:cNvCxnSpPr>
                  <a:stCxn id="64" idx="0"/>
                  <a:endCxn id="67" idx="4"/>
                </p:cNvCxnSpPr>
                <p:nvPr/>
              </p:nvCxnSpPr>
              <p:spPr>
                <a:xfrm flipV="1">
                  <a:off x="4676753" y="1769223"/>
                  <a:ext cx="942765" cy="104045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" name="直接连接符 18"/>
                <p:cNvCxnSpPr>
                  <a:stCxn id="56" idx="7"/>
                  <a:endCxn id="65" idx="3"/>
                </p:cNvCxnSpPr>
                <p:nvPr/>
              </p:nvCxnSpPr>
              <p:spPr>
                <a:xfrm flipV="1">
                  <a:off x="2494504" y="2571083"/>
                  <a:ext cx="798008" cy="113989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" name="直接连接符 19"/>
                <p:cNvCxnSpPr>
                  <a:stCxn id="65" idx="5"/>
                  <a:endCxn id="69" idx="1"/>
                </p:cNvCxnSpPr>
                <p:nvPr/>
              </p:nvCxnSpPr>
              <p:spPr>
                <a:xfrm>
                  <a:off x="3343424" y="2571083"/>
                  <a:ext cx="899970" cy="10854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" name="直接连接符 20"/>
                <p:cNvCxnSpPr>
                  <a:stCxn id="67" idx="7"/>
                  <a:endCxn id="50" idx="3"/>
                </p:cNvCxnSpPr>
                <p:nvPr/>
              </p:nvCxnSpPr>
              <p:spPr>
                <a:xfrm flipV="1">
                  <a:off x="5644974" y="1345025"/>
                  <a:ext cx="455898" cy="36274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" name="直接连接符 21"/>
                <p:cNvCxnSpPr>
                  <a:stCxn id="67" idx="6"/>
                  <a:endCxn id="51" idx="2"/>
                </p:cNvCxnSpPr>
                <p:nvPr/>
              </p:nvCxnSpPr>
              <p:spPr>
                <a:xfrm>
                  <a:off x="5655518" y="1733223"/>
                  <a:ext cx="1259969" cy="1566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" name="直接连接符 22"/>
                <p:cNvCxnSpPr>
                  <a:stCxn id="65" idx="7"/>
                  <a:endCxn id="67" idx="3"/>
                </p:cNvCxnSpPr>
                <p:nvPr/>
              </p:nvCxnSpPr>
              <p:spPr>
                <a:xfrm flipV="1">
                  <a:off x="3343424" y="1758679"/>
                  <a:ext cx="2250638" cy="761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" name="直接连接符 23"/>
                <p:cNvCxnSpPr>
                  <a:stCxn id="67" idx="5"/>
                  <a:endCxn id="66" idx="1"/>
                </p:cNvCxnSpPr>
                <p:nvPr/>
              </p:nvCxnSpPr>
              <p:spPr>
                <a:xfrm>
                  <a:off x="5644974" y="1758679"/>
                  <a:ext cx="625293" cy="97649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" name="直接连接符 24"/>
                <p:cNvCxnSpPr>
                  <a:stCxn id="64" idx="6"/>
                  <a:endCxn id="66" idx="2"/>
                </p:cNvCxnSpPr>
                <p:nvPr/>
              </p:nvCxnSpPr>
              <p:spPr>
                <a:xfrm flipV="1">
                  <a:off x="4712753" y="2760627"/>
                  <a:ext cx="1546970" cy="8505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" name="直接连接符 25"/>
                <p:cNvCxnSpPr>
                  <a:stCxn id="66" idx="3"/>
                  <a:endCxn id="70" idx="0"/>
                </p:cNvCxnSpPr>
                <p:nvPr/>
              </p:nvCxnSpPr>
              <p:spPr>
                <a:xfrm flipH="1">
                  <a:off x="5547518" y="2786083"/>
                  <a:ext cx="722749" cy="30516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" name="直接连接符 26"/>
                <p:cNvCxnSpPr>
                  <a:stCxn id="66" idx="0"/>
                  <a:endCxn id="51" idx="3"/>
                </p:cNvCxnSpPr>
                <p:nvPr/>
              </p:nvCxnSpPr>
              <p:spPr>
                <a:xfrm flipV="1">
                  <a:off x="6295723" y="1915353"/>
                  <a:ext cx="630308" cy="809274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" name="直接连接符 27"/>
                <p:cNvCxnSpPr>
                  <a:stCxn id="66" idx="5"/>
                  <a:endCxn id="71" idx="1"/>
                </p:cNvCxnSpPr>
                <p:nvPr/>
              </p:nvCxnSpPr>
              <p:spPr>
                <a:xfrm>
                  <a:off x="6321179" y="2786083"/>
                  <a:ext cx="698920" cy="84162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" name="直接连接符 28"/>
                <p:cNvCxnSpPr>
                  <a:stCxn id="71" idx="0"/>
                  <a:endCxn id="51" idx="4"/>
                </p:cNvCxnSpPr>
                <p:nvPr/>
              </p:nvCxnSpPr>
              <p:spPr>
                <a:xfrm flipH="1" flipV="1">
                  <a:off x="6951487" y="1925897"/>
                  <a:ext cx="94068" cy="169127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0" name="直接连接符 29"/>
                <p:cNvCxnSpPr>
                  <a:stCxn id="71" idx="7"/>
                  <a:endCxn id="54" idx="3"/>
                </p:cNvCxnSpPr>
                <p:nvPr/>
              </p:nvCxnSpPr>
              <p:spPr>
                <a:xfrm flipV="1">
                  <a:off x="7071011" y="2770197"/>
                  <a:ext cx="436307" cy="8575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1" name="直接连接符 30"/>
                <p:cNvCxnSpPr>
                  <a:stCxn id="58" idx="1"/>
                  <a:endCxn id="71" idx="5"/>
                </p:cNvCxnSpPr>
                <p:nvPr/>
              </p:nvCxnSpPr>
              <p:spPr>
                <a:xfrm flipH="1" flipV="1">
                  <a:off x="7071011" y="3678624"/>
                  <a:ext cx="413447" cy="107405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" name="直接连接符 31"/>
                <p:cNvCxnSpPr>
                  <a:stCxn id="64" idx="4"/>
                  <a:endCxn id="70" idx="1"/>
                </p:cNvCxnSpPr>
                <p:nvPr/>
              </p:nvCxnSpPr>
              <p:spPr>
                <a:xfrm>
                  <a:off x="4676753" y="2881677"/>
                  <a:ext cx="845309" cy="296662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" name="直接连接符 32"/>
                <p:cNvCxnSpPr>
                  <a:stCxn id="69" idx="5"/>
                  <a:endCxn id="70" idx="1"/>
                </p:cNvCxnSpPr>
                <p:nvPr/>
              </p:nvCxnSpPr>
              <p:spPr>
                <a:xfrm>
                  <a:off x="4294306" y="3707469"/>
                  <a:ext cx="1227756" cy="214083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" name="直接连接符 33"/>
                <p:cNvCxnSpPr>
                  <a:stCxn id="56" idx="5"/>
                  <a:endCxn id="68" idx="1"/>
                </p:cNvCxnSpPr>
                <p:nvPr/>
              </p:nvCxnSpPr>
              <p:spPr>
                <a:xfrm>
                  <a:off x="2494504" y="3761893"/>
                  <a:ext cx="1006882" cy="126202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5" name="直接连接符 34"/>
                <p:cNvCxnSpPr>
                  <a:stCxn id="68" idx="7"/>
                  <a:endCxn id="69" idx="2"/>
                </p:cNvCxnSpPr>
                <p:nvPr/>
              </p:nvCxnSpPr>
              <p:spPr>
                <a:xfrm flipV="1">
                  <a:off x="3552298" y="3682013"/>
                  <a:ext cx="680552" cy="1341903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6" name="直接连接符 35"/>
                <p:cNvCxnSpPr>
                  <a:stCxn id="68" idx="0"/>
                  <a:endCxn id="65" idx="4"/>
                </p:cNvCxnSpPr>
                <p:nvPr/>
              </p:nvCxnSpPr>
              <p:spPr>
                <a:xfrm flipH="1" flipV="1">
                  <a:off x="3317968" y="2581627"/>
                  <a:ext cx="208874" cy="243174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" name="直接连接符 36"/>
                <p:cNvCxnSpPr>
                  <a:stCxn id="65" idx="1"/>
                  <a:endCxn id="52" idx="4"/>
                </p:cNvCxnSpPr>
                <p:nvPr/>
              </p:nvCxnSpPr>
              <p:spPr>
                <a:xfrm flipH="1" flipV="1">
                  <a:off x="3245968" y="1921650"/>
                  <a:ext cx="46544" cy="59852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" name="直接连接符 37"/>
                <p:cNvCxnSpPr>
                  <a:stCxn id="59" idx="0"/>
                  <a:endCxn id="71" idx="4"/>
                </p:cNvCxnSpPr>
                <p:nvPr/>
              </p:nvCxnSpPr>
              <p:spPr>
                <a:xfrm flipV="1">
                  <a:off x="6960914" y="3689168"/>
                  <a:ext cx="84641" cy="188994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9" name="直接连接符 38"/>
                <p:cNvCxnSpPr>
                  <a:stCxn id="71" idx="3"/>
                  <a:endCxn id="70" idx="7"/>
                </p:cNvCxnSpPr>
                <p:nvPr/>
              </p:nvCxnSpPr>
              <p:spPr>
                <a:xfrm flipH="1">
                  <a:off x="5572974" y="3678624"/>
                  <a:ext cx="1447125" cy="2169681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0" name="直接连接符 39"/>
                <p:cNvCxnSpPr>
                  <a:stCxn id="70" idx="6"/>
                  <a:endCxn id="59" idx="2"/>
                </p:cNvCxnSpPr>
                <p:nvPr/>
              </p:nvCxnSpPr>
              <p:spPr>
                <a:xfrm flipV="1">
                  <a:off x="5583518" y="5615109"/>
                  <a:ext cx="1341396" cy="25865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1" name="直接连接符 40"/>
                <p:cNvCxnSpPr>
                  <a:stCxn id="70" idx="5"/>
                  <a:endCxn id="62" idx="1"/>
                </p:cNvCxnSpPr>
                <p:nvPr/>
              </p:nvCxnSpPr>
              <p:spPr>
                <a:xfrm>
                  <a:off x="5572974" y="5899217"/>
                  <a:ext cx="527898" cy="244415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2" name="直接连接符 41"/>
                <p:cNvCxnSpPr>
                  <a:stCxn id="69" idx="0"/>
                  <a:endCxn id="64" idx="3"/>
                </p:cNvCxnSpPr>
                <p:nvPr/>
              </p:nvCxnSpPr>
              <p:spPr>
                <a:xfrm flipV="1">
                  <a:off x="4268850" y="2871133"/>
                  <a:ext cx="382447" cy="774880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3" name="直接连接符 42"/>
                <p:cNvCxnSpPr>
                  <a:stCxn id="68" idx="6"/>
                  <a:endCxn id="70" idx="2"/>
                </p:cNvCxnSpPr>
                <p:nvPr/>
              </p:nvCxnSpPr>
              <p:spPr>
                <a:xfrm>
                  <a:off x="3562842" y="5049372"/>
                  <a:ext cx="1948676" cy="824389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4" name="直接连接符 43"/>
                <p:cNvCxnSpPr>
                  <a:stCxn id="57" idx="6"/>
                  <a:endCxn id="68" idx="2"/>
                </p:cNvCxnSpPr>
                <p:nvPr/>
              </p:nvCxnSpPr>
              <p:spPr>
                <a:xfrm>
                  <a:off x="2723516" y="4804810"/>
                  <a:ext cx="767326" cy="244562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5" name="直接连接符 44"/>
                <p:cNvCxnSpPr>
                  <a:stCxn id="60" idx="7"/>
                  <a:endCxn id="68" idx="3"/>
                </p:cNvCxnSpPr>
                <p:nvPr/>
              </p:nvCxnSpPr>
              <p:spPr>
                <a:xfrm flipV="1">
                  <a:off x="3271424" y="5074828"/>
                  <a:ext cx="229962" cy="510578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6" name="直接连接符 45"/>
                <p:cNvCxnSpPr>
                  <a:stCxn id="61" idx="0"/>
                  <a:endCxn id="68" idx="5"/>
                </p:cNvCxnSpPr>
                <p:nvPr/>
              </p:nvCxnSpPr>
              <p:spPr>
                <a:xfrm flipH="1" flipV="1">
                  <a:off x="3552298" y="5074828"/>
                  <a:ext cx="539139" cy="1058756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7" name="直接连接符 46"/>
                <p:cNvCxnSpPr>
                  <a:stCxn id="61" idx="7"/>
                  <a:endCxn id="70" idx="2"/>
                </p:cNvCxnSpPr>
                <p:nvPr/>
              </p:nvCxnSpPr>
              <p:spPr>
                <a:xfrm flipV="1">
                  <a:off x="4116893" y="5873761"/>
                  <a:ext cx="1394625" cy="270367"/>
                </a:xfrm>
                <a:prstGeom prst="line">
                  <a:avLst/>
                </a:prstGeom>
                <a:ln>
                  <a:solidFill>
                    <a:srgbClr val="9D819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6" name="文本框 5"/>
            <p:cNvSpPr txBox="1"/>
            <p:nvPr/>
          </p:nvSpPr>
          <p:spPr>
            <a:xfrm>
              <a:off x="6610899" y="1009427"/>
              <a:ext cx="1107126" cy="10112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200" b="1" dirty="0">
                  <a:solidFill>
                    <a:schemeClr val="bg1"/>
                  </a:solidFill>
                  <a:latin typeface="方正兰亭粗黑简体" panose="02000000000000000000" pitchFamily="2" charset="-122"/>
                  <a:ea typeface="方正兰亭粗黑简体" panose="02000000000000000000" pitchFamily="2" charset="-122"/>
                </a:rPr>
                <a:t>2</a:t>
              </a:r>
              <a:endParaRPr lang="en-US" altLang="zh-CN" sz="825" b="1" dirty="0">
                <a:solidFill>
                  <a:schemeClr val="bg1"/>
                </a:solidFill>
                <a:latin typeface="方正兰亭粗黑简体" panose="02000000000000000000" pitchFamily="2" charset="-122"/>
                <a:ea typeface="方正兰亭粗黑简体" panose="02000000000000000000" pitchFamily="2" charset="-122"/>
              </a:endParaRPr>
            </a:p>
          </p:txBody>
        </p:sp>
        <p:sp>
          <p:nvSpPr>
            <p:cNvPr id="7" name="弧形 6"/>
            <p:cNvSpPr/>
            <p:nvPr/>
          </p:nvSpPr>
          <p:spPr>
            <a:xfrm rot="20705087">
              <a:off x="5896029" y="1413987"/>
              <a:ext cx="2542304" cy="475742"/>
            </a:xfrm>
            <a:prstGeom prst="arc">
              <a:avLst>
                <a:gd name="adj1" fmla="val 20946925"/>
                <a:gd name="adj2" fmla="val 11464655"/>
              </a:avLst>
            </a:prstGeom>
            <a:ln w="19050">
              <a:solidFill>
                <a:srgbClr val="9D819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 sz="1013"/>
            </a:p>
          </p:txBody>
        </p:sp>
      </p:grpSp>
      <p:sp>
        <p:nvSpPr>
          <p:cNvPr id="72" name="文本框 71"/>
          <p:cNvSpPr txBox="1"/>
          <p:nvPr/>
        </p:nvSpPr>
        <p:spPr>
          <a:xfrm>
            <a:off x="1041984" y="517240"/>
            <a:ext cx="2104064" cy="4589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系统框架</a:t>
            </a:r>
            <a:endParaRPr lang="en-US" altLang="zh-CN" sz="75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AF95920A-B82A-4CD3-9AD8-D5BF82C3A2D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74662" y="190076"/>
            <a:ext cx="3790447" cy="4758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142485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 advTm="0">
        <p15:prstTrans prst="airplane"/>
      </p:transition>
    </mc:Choice>
    <mc:Fallback xmlns="">
      <p:transition spd="slow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2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1938Mw9kkyV2XgRVpibQw"/>
</p:tagLst>
</file>

<file path=ppt/theme/theme1.xml><?xml version="1.0" encoding="utf-8"?>
<a:theme xmlns:a="http://schemas.openxmlformats.org/drawingml/2006/main" name="Office 主题">
  <a:themeElements>
    <a:clrScheme name="Office 主题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主题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主题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472</TotalTime>
  <Words>193</Words>
  <Application>Microsoft Office PowerPoint</Application>
  <PresentationFormat>全屏显示(16:9)</PresentationFormat>
  <Paragraphs>73</Paragraphs>
  <Slides>15</Slides>
  <Notes>0</Notes>
  <HiddenSlides>0</HiddenSlides>
  <MMClips>0</MMClips>
  <ScaleCrop>false</ScaleCrop>
  <HeadingPairs>
    <vt:vector size="6" baseType="variant">
      <vt:variant>
        <vt:lpstr>已用的字体</vt:lpstr>
      </vt:variant>
      <vt:variant>
        <vt:i4>11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15</vt:i4>
      </vt:variant>
    </vt:vector>
  </HeadingPairs>
  <TitlesOfParts>
    <vt:vector size="27" baseType="lpstr">
      <vt:lpstr>HelveticaNeueLT Pro 35 Th</vt:lpstr>
      <vt:lpstr>方正兰亭粗黑简体</vt:lpstr>
      <vt:lpstr>方正姚体</vt:lpstr>
      <vt:lpstr>华文黑体</vt:lpstr>
      <vt:lpstr>华文细黑</vt:lpstr>
      <vt:lpstr>宋体</vt:lpstr>
      <vt:lpstr>微软雅黑</vt:lpstr>
      <vt:lpstr>Arial</vt:lpstr>
      <vt:lpstr>Calibri</vt:lpstr>
      <vt:lpstr>Calibri Light</vt:lpstr>
      <vt:lpstr>Cordia New</vt:lpstr>
      <vt:lpstr>Office 主题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http://www.ypppt.com/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优品PPT</dc:creator>
  <cp:keywords>http:/www.ypppt.com</cp:keywords>
  <dc:description>http://www.ypppt.com/</dc:description>
  <cp:lastModifiedBy>ma</cp:lastModifiedBy>
  <cp:revision>73</cp:revision>
  <dcterms:created xsi:type="dcterms:W3CDTF">2016-12-13T08:58:41Z</dcterms:created>
  <dcterms:modified xsi:type="dcterms:W3CDTF">2019-06-05T18:09:14Z</dcterms:modified>
</cp:coreProperties>
</file>